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2"/>
  </p:notesMasterIdLst>
  <p:handoutMasterIdLst>
    <p:handoutMasterId r:id="rId13"/>
  </p:handoutMasterIdLst>
  <p:sldIdLst>
    <p:sldId id="2146846087" r:id="rId5"/>
    <p:sldId id="2146846140" r:id="rId6"/>
    <p:sldId id="2146846153" r:id="rId7"/>
    <p:sldId id="2146846154" r:id="rId8"/>
    <p:sldId id="2146846152" r:id="rId9"/>
    <p:sldId id="2146846148" r:id="rId10"/>
    <p:sldId id="2146846155" r:id="rId11"/>
  </p:sldIdLst>
  <p:sldSz cx="12192000" cy="6858000"/>
  <p:notesSz cx="6858000" cy="9144000"/>
  <p:custDataLst>
    <p:tags r:id="rId14"/>
  </p:custDataLst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09B5937-3ED7-4E05-B3E6-6DB33CDBE7C1}">
          <p14:sldIdLst>
            <p14:sldId id="2146846087"/>
            <p14:sldId id="2146846140"/>
            <p14:sldId id="2146846153"/>
            <p14:sldId id="2146846154"/>
            <p14:sldId id="2146846152"/>
            <p14:sldId id="2146846148"/>
            <p14:sldId id="214684615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oline Abreu" initials="CA" lastIdx="3" clrIdx="0">
    <p:extLst>
      <p:ext uri="{19B8F6BF-5375-455C-9EA6-DF929625EA0E}">
        <p15:presenceInfo xmlns:p15="http://schemas.microsoft.com/office/powerpoint/2012/main" userId="S::Caroline.Abreu@br.ey.com::bfd3b66c-b3b5-49dc-8f1e-f44487b1dddd" providerId="AD"/>
      </p:ext>
    </p:extLst>
  </p:cmAuthor>
  <p:cmAuthor id="2" name="Katerine Schifino" initials="KS" lastIdx="2" clrIdx="1">
    <p:extLst>
      <p:ext uri="{19B8F6BF-5375-455C-9EA6-DF929625EA0E}">
        <p15:presenceInfo xmlns:p15="http://schemas.microsoft.com/office/powerpoint/2012/main" userId="S::Katerine.Schifino@co.ey.com::37bb67de-9fcf-4611-888c-7e5b58184a2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EA3A55"/>
    <a:srgbClr val="D4BFF8"/>
    <a:srgbClr val="366E7A"/>
    <a:srgbClr val="3A8997"/>
    <a:srgbClr val="64C2C8"/>
    <a:srgbClr val="FBBE5B"/>
    <a:srgbClr val="F39149"/>
    <a:srgbClr val="DC5149"/>
    <a:srgbClr val="5495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CB7AFF-9294-498D-B254-DA7363DFDCA7}" v="4" dt="2022-04-04T19:28:37.761"/>
    <p1510:client id="{1803AE8B-3BA2-492F-8256-452F022058DA}" v="335" dt="2022-04-04T19:05:15.093"/>
    <p1510:client id="{77D832CB-554B-4649-8E49-E1D3E05F597D}" v="22" dt="2022-04-04T19:07:59.1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39" d="100"/>
          <a:sy n="39" d="100"/>
        </p:scale>
        <p:origin x="36" y="4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Muñoz Segura" userId="5f248e46-5f71-4343-9f7d-d0058a4af8ed" providerId="ADAL" clId="{08CB7AFF-9294-498D-B254-DA7363DFDCA7}"/>
    <pc:docChg chg="undo custSel addSld delSld modSld modSection">
      <pc:chgData name="Daniel Muñoz Segura" userId="5f248e46-5f71-4343-9f7d-d0058a4af8ed" providerId="ADAL" clId="{08CB7AFF-9294-498D-B254-DA7363DFDCA7}" dt="2022-04-04T19:35:52.456" v="936" actId="1035"/>
      <pc:docMkLst>
        <pc:docMk/>
      </pc:docMkLst>
      <pc:sldChg chg="del">
        <pc:chgData name="Daniel Muñoz Segura" userId="5f248e46-5f71-4343-9f7d-d0058a4af8ed" providerId="ADAL" clId="{08CB7AFF-9294-498D-B254-DA7363DFDCA7}" dt="2022-04-04T19:18:28.108" v="1" actId="2696"/>
        <pc:sldMkLst>
          <pc:docMk/>
          <pc:sldMk cId="3188289387" sldId="2080107992"/>
        </pc:sldMkLst>
      </pc:sldChg>
      <pc:sldChg chg="add">
        <pc:chgData name="Daniel Muñoz Segura" userId="5f248e46-5f71-4343-9f7d-d0058a4af8ed" providerId="ADAL" clId="{08CB7AFF-9294-498D-B254-DA7363DFDCA7}" dt="2022-04-04T19:18:25.346" v="0"/>
        <pc:sldMkLst>
          <pc:docMk/>
          <pc:sldMk cId="1147287438" sldId="2146846087"/>
        </pc:sldMkLst>
      </pc:sldChg>
      <pc:sldChg chg="del">
        <pc:chgData name="Daniel Muñoz Segura" userId="5f248e46-5f71-4343-9f7d-d0058a4af8ed" providerId="ADAL" clId="{08CB7AFF-9294-498D-B254-DA7363DFDCA7}" dt="2022-04-04T19:29:19.525" v="607" actId="2696"/>
        <pc:sldMkLst>
          <pc:docMk/>
          <pc:sldMk cId="2729674122" sldId="2146846138"/>
        </pc:sldMkLst>
      </pc:sldChg>
      <pc:sldChg chg="modSp mod">
        <pc:chgData name="Daniel Muñoz Segura" userId="5f248e46-5f71-4343-9f7d-d0058a4af8ed" providerId="ADAL" clId="{08CB7AFF-9294-498D-B254-DA7363DFDCA7}" dt="2022-04-04T19:22:49.606" v="216"/>
        <pc:sldMkLst>
          <pc:docMk/>
          <pc:sldMk cId="2318814632" sldId="2146846140"/>
        </pc:sldMkLst>
        <pc:spChg chg="mod">
          <ac:chgData name="Daniel Muñoz Segura" userId="5f248e46-5f71-4343-9f7d-d0058a4af8ed" providerId="ADAL" clId="{08CB7AFF-9294-498D-B254-DA7363DFDCA7}" dt="2022-04-04T19:22:49.606" v="216"/>
          <ac:spMkLst>
            <pc:docMk/>
            <pc:sldMk cId="2318814632" sldId="2146846140"/>
            <ac:spMk id="2" creationId="{68EA5FB2-E061-4F05-8F80-5F71CF64B337}"/>
          </ac:spMkLst>
        </pc:spChg>
        <pc:spChg chg="mod">
          <ac:chgData name="Daniel Muñoz Segura" userId="5f248e46-5f71-4343-9f7d-d0058a4af8ed" providerId="ADAL" clId="{08CB7AFF-9294-498D-B254-DA7363DFDCA7}" dt="2022-04-04T19:19:46.008" v="12" actId="20577"/>
          <ac:spMkLst>
            <pc:docMk/>
            <pc:sldMk cId="2318814632" sldId="2146846140"/>
            <ac:spMk id="6" creationId="{C3E24BFF-A0DB-4ECE-96D3-5EAB937B7323}"/>
          </ac:spMkLst>
        </pc:spChg>
        <pc:spChg chg="mod">
          <ac:chgData name="Daniel Muñoz Segura" userId="5f248e46-5f71-4343-9f7d-d0058a4af8ed" providerId="ADAL" clId="{08CB7AFF-9294-498D-B254-DA7363DFDCA7}" dt="2022-04-04T19:22:40.907" v="215" actId="20577"/>
          <ac:spMkLst>
            <pc:docMk/>
            <pc:sldMk cId="2318814632" sldId="2146846140"/>
            <ac:spMk id="11" creationId="{4E24824E-F86D-4BF1-A73F-457CD5F4A18D}"/>
          </ac:spMkLst>
        </pc:spChg>
      </pc:sldChg>
      <pc:sldChg chg="modSp mod">
        <pc:chgData name="Daniel Muñoz Segura" userId="5f248e46-5f71-4343-9f7d-d0058a4af8ed" providerId="ADAL" clId="{08CB7AFF-9294-498D-B254-DA7363DFDCA7}" dt="2022-04-04T19:29:39.870" v="650" actId="20577"/>
        <pc:sldMkLst>
          <pc:docMk/>
          <pc:sldMk cId="3714134444" sldId="2146846148"/>
        </pc:sldMkLst>
        <pc:spChg chg="mod">
          <ac:chgData name="Daniel Muñoz Segura" userId="5f248e46-5f71-4343-9f7d-d0058a4af8ed" providerId="ADAL" clId="{08CB7AFF-9294-498D-B254-DA7363DFDCA7}" dt="2022-04-04T19:28:11.201" v="576" actId="20577"/>
          <ac:spMkLst>
            <pc:docMk/>
            <pc:sldMk cId="3714134444" sldId="2146846148"/>
            <ac:spMk id="37" creationId="{6FE83AC4-C052-49C7-B409-A12A105CF3C5}"/>
          </ac:spMkLst>
        </pc:spChg>
        <pc:spChg chg="mod">
          <ac:chgData name="Daniel Muñoz Segura" userId="5f248e46-5f71-4343-9f7d-d0058a4af8ed" providerId="ADAL" clId="{08CB7AFF-9294-498D-B254-DA7363DFDCA7}" dt="2022-04-04T19:29:36.464" v="642" actId="20577"/>
          <ac:spMkLst>
            <pc:docMk/>
            <pc:sldMk cId="3714134444" sldId="2146846148"/>
            <ac:spMk id="47" creationId="{57F94223-CFEA-4723-AA71-EC3756B12F1E}"/>
          </ac:spMkLst>
        </pc:spChg>
        <pc:spChg chg="mod">
          <ac:chgData name="Daniel Muñoz Segura" userId="5f248e46-5f71-4343-9f7d-d0058a4af8ed" providerId="ADAL" clId="{08CB7AFF-9294-498D-B254-DA7363DFDCA7}" dt="2022-04-04T19:29:33.015" v="631" actId="20577"/>
          <ac:spMkLst>
            <pc:docMk/>
            <pc:sldMk cId="3714134444" sldId="2146846148"/>
            <ac:spMk id="49" creationId="{4A793C80-F0D4-47F7-B16D-05C1525F18DB}"/>
          </ac:spMkLst>
        </pc:spChg>
        <pc:spChg chg="mod">
          <ac:chgData name="Daniel Muñoz Segura" userId="5f248e46-5f71-4343-9f7d-d0058a4af8ed" providerId="ADAL" clId="{08CB7AFF-9294-498D-B254-DA7363DFDCA7}" dt="2022-04-04T19:29:29.016" v="623" actId="20577"/>
          <ac:spMkLst>
            <pc:docMk/>
            <pc:sldMk cId="3714134444" sldId="2146846148"/>
            <ac:spMk id="52" creationId="{FC87FAE6-7EB9-467E-B284-E954DC1A6E66}"/>
          </ac:spMkLst>
        </pc:spChg>
        <pc:spChg chg="mod">
          <ac:chgData name="Daniel Muñoz Segura" userId="5f248e46-5f71-4343-9f7d-d0058a4af8ed" providerId="ADAL" clId="{08CB7AFF-9294-498D-B254-DA7363DFDCA7}" dt="2022-04-04T19:29:39.870" v="650" actId="20577"/>
          <ac:spMkLst>
            <pc:docMk/>
            <pc:sldMk cId="3714134444" sldId="2146846148"/>
            <ac:spMk id="66" creationId="{DF500C71-E5B9-4C57-97F6-E79395FA113F}"/>
          </ac:spMkLst>
        </pc:spChg>
      </pc:sldChg>
      <pc:sldChg chg="del">
        <pc:chgData name="Daniel Muñoz Segura" userId="5f248e46-5f71-4343-9f7d-d0058a4af8ed" providerId="ADAL" clId="{08CB7AFF-9294-498D-B254-DA7363DFDCA7}" dt="2022-04-04T19:27:28.700" v="483" actId="2696"/>
        <pc:sldMkLst>
          <pc:docMk/>
          <pc:sldMk cId="3848016662" sldId="2146846150"/>
        </pc:sldMkLst>
      </pc:sldChg>
      <pc:sldChg chg="modSp mod">
        <pc:chgData name="Daniel Muñoz Segura" userId="5f248e46-5f71-4343-9f7d-d0058a4af8ed" providerId="ADAL" clId="{08CB7AFF-9294-498D-B254-DA7363DFDCA7}" dt="2022-04-04T19:35:52.456" v="936" actId="1035"/>
        <pc:sldMkLst>
          <pc:docMk/>
          <pc:sldMk cId="2936092438" sldId="2146846152"/>
        </pc:sldMkLst>
        <pc:spChg chg="mod">
          <ac:chgData name="Daniel Muñoz Segura" userId="5f248e46-5f71-4343-9f7d-d0058a4af8ed" providerId="ADAL" clId="{08CB7AFF-9294-498D-B254-DA7363DFDCA7}" dt="2022-04-04T19:27:52.088" v="540" actId="20577"/>
          <ac:spMkLst>
            <pc:docMk/>
            <pc:sldMk cId="2936092438" sldId="2146846152"/>
            <ac:spMk id="28" creationId="{449A5BD4-7010-4C71-953C-B5907F5EA51C}"/>
          </ac:spMkLst>
        </pc:spChg>
        <pc:spChg chg="mod">
          <ac:chgData name="Daniel Muñoz Segura" userId="5f248e46-5f71-4343-9f7d-d0058a4af8ed" providerId="ADAL" clId="{08CB7AFF-9294-498D-B254-DA7363DFDCA7}" dt="2022-04-04T19:27:36.806" v="490" actId="20577"/>
          <ac:spMkLst>
            <pc:docMk/>
            <pc:sldMk cId="2936092438" sldId="2146846152"/>
            <ac:spMk id="37" creationId="{6FE83AC4-C052-49C7-B409-A12A105CF3C5}"/>
          </ac:spMkLst>
        </pc:spChg>
        <pc:spChg chg="mod">
          <ac:chgData name="Daniel Muñoz Segura" userId="5f248e46-5f71-4343-9f7d-d0058a4af8ed" providerId="ADAL" clId="{08CB7AFF-9294-498D-B254-DA7363DFDCA7}" dt="2022-04-04T19:34:03.247" v="899" actId="20577"/>
          <ac:spMkLst>
            <pc:docMk/>
            <pc:sldMk cId="2936092438" sldId="2146846152"/>
            <ac:spMk id="38" creationId="{2E5787A3-0ADA-4D59-A745-AB551280E4B4}"/>
          </ac:spMkLst>
        </pc:spChg>
        <pc:spChg chg="mod">
          <ac:chgData name="Daniel Muñoz Segura" userId="5f248e46-5f71-4343-9f7d-d0058a4af8ed" providerId="ADAL" clId="{08CB7AFF-9294-498D-B254-DA7363DFDCA7}" dt="2022-04-04T19:30:30.767" v="719" actId="20577"/>
          <ac:spMkLst>
            <pc:docMk/>
            <pc:sldMk cId="2936092438" sldId="2146846152"/>
            <ac:spMk id="39" creationId="{DE39A52B-9408-41F4-AC4C-CEBC389D42F9}"/>
          </ac:spMkLst>
        </pc:spChg>
        <pc:spChg chg="mod">
          <ac:chgData name="Daniel Muñoz Segura" userId="5f248e46-5f71-4343-9f7d-d0058a4af8ed" providerId="ADAL" clId="{08CB7AFF-9294-498D-B254-DA7363DFDCA7}" dt="2022-04-04T19:31:09.095" v="754" actId="20577"/>
          <ac:spMkLst>
            <pc:docMk/>
            <pc:sldMk cId="2936092438" sldId="2146846152"/>
            <ac:spMk id="47" creationId="{57F94223-CFEA-4723-AA71-EC3756B12F1E}"/>
          </ac:spMkLst>
        </pc:spChg>
        <pc:spChg chg="mod">
          <ac:chgData name="Daniel Muñoz Segura" userId="5f248e46-5f71-4343-9f7d-d0058a4af8ed" providerId="ADAL" clId="{08CB7AFF-9294-498D-B254-DA7363DFDCA7}" dt="2022-04-04T19:31:03.171" v="743" actId="20577"/>
          <ac:spMkLst>
            <pc:docMk/>
            <pc:sldMk cId="2936092438" sldId="2146846152"/>
            <ac:spMk id="49" creationId="{4A793C80-F0D4-47F7-B16D-05C1525F18DB}"/>
          </ac:spMkLst>
        </pc:spChg>
        <pc:spChg chg="mod">
          <ac:chgData name="Daniel Muñoz Segura" userId="5f248e46-5f71-4343-9f7d-d0058a4af8ed" providerId="ADAL" clId="{08CB7AFF-9294-498D-B254-DA7363DFDCA7}" dt="2022-04-04T19:30:55.040" v="735" actId="20577"/>
          <ac:spMkLst>
            <pc:docMk/>
            <pc:sldMk cId="2936092438" sldId="2146846152"/>
            <ac:spMk id="52" creationId="{FC87FAE6-7EB9-467E-B284-E954DC1A6E66}"/>
          </ac:spMkLst>
        </pc:spChg>
        <pc:spChg chg="mod">
          <ac:chgData name="Daniel Muñoz Segura" userId="5f248e46-5f71-4343-9f7d-d0058a4af8ed" providerId="ADAL" clId="{08CB7AFF-9294-498D-B254-DA7363DFDCA7}" dt="2022-04-04T19:33:08.351" v="837" actId="20577"/>
          <ac:spMkLst>
            <pc:docMk/>
            <pc:sldMk cId="2936092438" sldId="2146846152"/>
            <ac:spMk id="58" creationId="{61503964-2615-4032-8EB8-20AEF2140E3F}"/>
          </ac:spMkLst>
        </pc:spChg>
        <pc:spChg chg="mod">
          <ac:chgData name="Daniel Muñoz Segura" userId="5f248e46-5f71-4343-9f7d-d0058a4af8ed" providerId="ADAL" clId="{08CB7AFF-9294-498D-B254-DA7363DFDCA7}" dt="2022-04-04T19:34:49.308" v="929" actId="20577"/>
          <ac:spMkLst>
            <pc:docMk/>
            <pc:sldMk cId="2936092438" sldId="2146846152"/>
            <ac:spMk id="59" creationId="{E56B3A5A-5A76-4863-9FAB-88E1A42BD66A}"/>
          </ac:spMkLst>
        </pc:spChg>
        <pc:spChg chg="mod">
          <ac:chgData name="Daniel Muñoz Segura" userId="5f248e46-5f71-4343-9f7d-d0058a4af8ed" providerId="ADAL" clId="{08CB7AFF-9294-498D-B254-DA7363DFDCA7}" dt="2022-04-04T19:33:38.264" v="880" actId="20577"/>
          <ac:spMkLst>
            <pc:docMk/>
            <pc:sldMk cId="2936092438" sldId="2146846152"/>
            <ac:spMk id="60" creationId="{744B73FA-24CF-49BC-9DB5-0C688BE4DC63}"/>
          </ac:spMkLst>
        </pc:spChg>
        <pc:spChg chg="mod">
          <ac:chgData name="Daniel Muñoz Segura" userId="5f248e46-5f71-4343-9f7d-d0058a4af8ed" providerId="ADAL" clId="{08CB7AFF-9294-498D-B254-DA7363DFDCA7}" dt="2022-04-04T19:30:18.488" v="711" actId="20577"/>
          <ac:spMkLst>
            <pc:docMk/>
            <pc:sldMk cId="2936092438" sldId="2146846152"/>
            <ac:spMk id="62" creationId="{670E30F8-68A1-41D5-8E96-518A8BFCB681}"/>
          </ac:spMkLst>
        </pc:spChg>
        <pc:spChg chg="mod">
          <ac:chgData name="Daniel Muñoz Segura" userId="5f248e46-5f71-4343-9f7d-d0058a4af8ed" providerId="ADAL" clId="{08CB7AFF-9294-498D-B254-DA7363DFDCA7}" dt="2022-04-04T19:33:31.312" v="859" actId="20577"/>
          <ac:spMkLst>
            <pc:docMk/>
            <pc:sldMk cId="2936092438" sldId="2146846152"/>
            <ac:spMk id="63" creationId="{3F4A4143-8722-43E0-81B3-A41208B4876E}"/>
          </ac:spMkLst>
        </pc:spChg>
        <pc:spChg chg="mod">
          <ac:chgData name="Daniel Muñoz Segura" userId="5f248e46-5f71-4343-9f7d-d0058a4af8ed" providerId="ADAL" clId="{08CB7AFF-9294-498D-B254-DA7363DFDCA7}" dt="2022-04-04T19:32:56.511" v="798" actId="20577"/>
          <ac:spMkLst>
            <pc:docMk/>
            <pc:sldMk cId="2936092438" sldId="2146846152"/>
            <ac:spMk id="64" creationId="{D1970141-0A56-48F4-B2A6-696366A542FA}"/>
          </ac:spMkLst>
        </pc:spChg>
        <pc:spChg chg="mod">
          <ac:chgData name="Daniel Muñoz Segura" userId="5f248e46-5f71-4343-9f7d-d0058a4af8ed" providerId="ADAL" clId="{08CB7AFF-9294-498D-B254-DA7363DFDCA7}" dt="2022-04-04T19:35:52.456" v="936" actId="1035"/>
          <ac:spMkLst>
            <pc:docMk/>
            <pc:sldMk cId="2936092438" sldId="2146846152"/>
            <ac:spMk id="67" creationId="{D8B600EF-9AEF-43ED-8614-D7816A820CF0}"/>
          </ac:spMkLst>
        </pc:spChg>
        <pc:spChg chg="mod">
          <ac:chgData name="Daniel Muñoz Segura" userId="5f248e46-5f71-4343-9f7d-d0058a4af8ed" providerId="ADAL" clId="{08CB7AFF-9294-498D-B254-DA7363DFDCA7}" dt="2022-04-04T19:29:51.358" v="671" actId="20577"/>
          <ac:spMkLst>
            <pc:docMk/>
            <pc:sldMk cId="2936092438" sldId="2146846152"/>
            <ac:spMk id="69" creationId="{69FA525B-89D8-4AD7-9554-2994F8DD979E}"/>
          </ac:spMkLst>
        </pc:spChg>
      </pc:sldChg>
      <pc:sldChg chg="modSp mod">
        <pc:chgData name="Daniel Muñoz Segura" userId="5f248e46-5f71-4343-9f7d-d0058a4af8ed" providerId="ADAL" clId="{08CB7AFF-9294-498D-B254-DA7363DFDCA7}" dt="2022-04-04T19:26:13.480" v="398"/>
        <pc:sldMkLst>
          <pc:docMk/>
          <pc:sldMk cId="399736881" sldId="2146846153"/>
        </pc:sldMkLst>
        <pc:spChg chg="mod">
          <ac:chgData name="Daniel Muñoz Segura" userId="5f248e46-5f71-4343-9f7d-d0058a4af8ed" providerId="ADAL" clId="{08CB7AFF-9294-498D-B254-DA7363DFDCA7}" dt="2022-04-04T19:24:12.497" v="276" actId="20577"/>
          <ac:spMkLst>
            <pc:docMk/>
            <pc:sldMk cId="399736881" sldId="2146846153"/>
            <ac:spMk id="35" creationId="{0F0682D5-4784-4CC9-B110-BE88DC9AC626}"/>
          </ac:spMkLst>
        </pc:spChg>
        <pc:spChg chg="mod">
          <ac:chgData name="Daniel Muñoz Segura" userId="5f248e46-5f71-4343-9f7d-d0058a4af8ed" providerId="ADAL" clId="{08CB7AFF-9294-498D-B254-DA7363DFDCA7}" dt="2022-04-04T19:23:27.978" v="239" actId="20577"/>
          <ac:spMkLst>
            <pc:docMk/>
            <pc:sldMk cId="399736881" sldId="2146846153"/>
            <ac:spMk id="37" creationId="{6FE83AC4-C052-49C7-B409-A12A105CF3C5}"/>
          </ac:spMkLst>
        </pc:spChg>
        <pc:spChg chg="mod">
          <ac:chgData name="Daniel Muñoz Segura" userId="5f248e46-5f71-4343-9f7d-d0058a4af8ed" providerId="ADAL" clId="{08CB7AFF-9294-498D-B254-DA7363DFDCA7}" dt="2022-04-04T19:24:19.547" v="277"/>
          <ac:spMkLst>
            <pc:docMk/>
            <pc:sldMk cId="399736881" sldId="2146846153"/>
            <ac:spMk id="39" creationId="{D1F1DE22-AC65-406B-B8ED-73EB0501FA02}"/>
          </ac:spMkLst>
        </pc:spChg>
        <pc:spChg chg="mod">
          <ac:chgData name="Daniel Muñoz Segura" userId="5f248e46-5f71-4343-9f7d-d0058a4af8ed" providerId="ADAL" clId="{08CB7AFF-9294-498D-B254-DA7363DFDCA7}" dt="2022-04-04T19:26:13.480" v="398"/>
          <ac:spMkLst>
            <pc:docMk/>
            <pc:sldMk cId="399736881" sldId="2146846153"/>
            <ac:spMk id="42" creationId="{F6B91014-EE2D-4A28-A5C1-BD3104226CDF}"/>
          </ac:spMkLst>
        </pc:spChg>
        <pc:spChg chg="mod">
          <ac:chgData name="Daniel Muñoz Segura" userId="5f248e46-5f71-4343-9f7d-d0058a4af8ed" providerId="ADAL" clId="{08CB7AFF-9294-498D-B254-DA7363DFDCA7}" dt="2022-04-04T19:24:40.037" v="306" actId="20577"/>
          <ac:spMkLst>
            <pc:docMk/>
            <pc:sldMk cId="399736881" sldId="2146846153"/>
            <ac:spMk id="47" creationId="{57F94223-CFEA-4723-AA71-EC3756B12F1E}"/>
          </ac:spMkLst>
        </pc:spChg>
        <pc:spChg chg="mod">
          <ac:chgData name="Daniel Muñoz Segura" userId="5f248e46-5f71-4343-9f7d-d0058a4af8ed" providerId="ADAL" clId="{08CB7AFF-9294-498D-B254-DA7363DFDCA7}" dt="2022-04-04T19:24:35.463" v="295" actId="20577"/>
          <ac:spMkLst>
            <pc:docMk/>
            <pc:sldMk cId="399736881" sldId="2146846153"/>
            <ac:spMk id="49" creationId="{4A793C80-F0D4-47F7-B16D-05C1525F18DB}"/>
          </ac:spMkLst>
        </pc:spChg>
        <pc:spChg chg="mod">
          <ac:chgData name="Daniel Muñoz Segura" userId="5f248e46-5f71-4343-9f7d-d0058a4af8ed" providerId="ADAL" clId="{08CB7AFF-9294-498D-B254-DA7363DFDCA7}" dt="2022-04-04T19:24:30.583" v="287" actId="20577"/>
          <ac:spMkLst>
            <pc:docMk/>
            <pc:sldMk cId="399736881" sldId="2146846153"/>
            <ac:spMk id="52" creationId="{FC87FAE6-7EB9-467E-B284-E954DC1A6E66}"/>
          </ac:spMkLst>
        </pc:spChg>
        <pc:spChg chg="mod">
          <ac:chgData name="Daniel Muñoz Segura" userId="5f248e46-5f71-4343-9f7d-d0058a4af8ed" providerId="ADAL" clId="{08CB7AFF-9294-498D-B254-DA7363DFDCA7}" dt="2022-04-04T19:26:04.948" v="397" actId="20577"/>
          <ac:spMkLst>
            <pc:docMk/>
            <pc:sldMk cId="399736881" sldId="2146846153"/>
            <ac:spMk id="58" creationId="{3A51A33E-7390-4B98-97C3-D9255696251D}"/>
          </ac:spMkLst>
        </pc:spChg>
        <pc:spChg chg="mod">
          <ac:chgData name="Daniel Muñoz Segura" userId="5f248e46-5f71-4343-9f7d-d0058a4af8ed" providerId="ADAL" clId="{08CB7AFF-9294-498D-B254-DA7363DFDCA7}" dt="2022-04-04T19:23:51.103" v="271" actId="20577"/>
          <ac:spMkLst>
            <pc:docMk/>
            <pc:sldMk cId="399736881" sldId="2146846153"/>
            <ac:spMk id="63" creationId="{CC75C216-9E8F-4296-AB88-926267BA27D3}"/>
          </ac:spMkLst>
        </pc:spChg>
        <pc:spChg chg="mod">
          <ac:chgData name="Daniel Muñoz Segura" userId="5f248e46-5f71-4343-9f7d-d0058a4af8ed" providerId="ADAL" clId="{08CB7AFF-9294-498D-B254-DA7363DFDCA7}" dt="2022-04-04T19:25:06.398" v="339" actId="20577"/>
          <ac:spMkLst>
            <pc:docMk/>
            <pc:sldMk cId="399736881" sldId="2146846153"/>
            <ac:spMk id="64" creationId="{1580F99F-2885-455D-A4D3-4B5B733CD9EC}"/>
          </ac:spMkLst>
        </pc:spChg>
        <pc:spChg chg="mod">
          <ac:chgData name="Daniel Muñoz Segura" userId="5f248e46-5f71-4343-9f7d-d0058a4af8ed" providerId="ADAL" clId="{08CB7AFF-9294-498D-B254-DA7363DFDCA7}" dt="2022-04-04T19:24:45.869" v="312" actId="20577"/>
          <ac:spMkLst>
            <pc:docMk/>
            <pc:sldMk cId="399736881" sldId="2146846153"/>
            <ac:spMk id="66" creationId="{DF500C71-E5B9-4C57-97F6-E79395FA113F}"/>
          </ac:spMkLst>
        </pc:spChg>
        <pc:spChg chg="mod">
          <ac:chgData name="Daniel Muñoz Segura" userId="5f248e46-5f71-4343-9f7d-d0058a4af8ed" providerId="ADAL" clId="{08CB7AFF-9294-498D-B254-DA7363DFDCA7}" dt="2022-04-04T19:25:16.648" v="341"/>
          <ac:spMkLst>
            <pc:docMk/>
            <pc:sldMk cId="399736881" sldId="2146846153"/>
            <ac:spMk id="69" creationId="{69FA525B-89D8-4AD7-9554-2994F8DD979E}"/>
          </ac:spMkLst>
        </pc:spChg>
        <pc:spChg chg="mod">
          <ac:chgData name="Daniel Muñoz Segura" userId="5f248e46-5f71-4343-9f7d-d0058a4af8ed" providerId="ADAL" clId="{08CB7AFF-9294-498D-B254-DA7363DFDCA7}" dt="2022-04-04T19:24:04.088" v="273"/>
          <ac:spMkLst>
            <pc:docMk/>
            <pc:sldMk cId="399736881" sldId="2146846153"/>
            <ac:spMk id="70" creationId="{8EA0815F-4CE9-476E-9839-822A94A577B4}"/>
          </ac:spMkLst>
        </pc:spChg>
        <pc:spChg chg="mod">
          <ac:chgData name="Daniel Muñoz Segura" userId="5f248e46-5f71-4343-9f7d-d0058a4af8ed" providerId="ADAL" clId="{08CB7AFF-9294-498D-B254-DA7363DFDCA7}" dt="2022-04-04T19:25:14.345" v="340"/>
          <ac:spMkLst>
            <pc:docMk/>
            <pc:sldMk cId="399736881" sldId="2146846153"/>
            <ac:spMk id="71" creationId="{91C3B726-3015-41A0-B3CB-98F420759ACA}"/>
          </ac:spMkLst>
        </pc:spChg>
        <pc:spChg chg="mod">
          <ac:chgData name="Daniel Muñoz Segura" userId="5f248e46-5f71-4343-9f7d-d0058a4af8ed" providerId="ADAL" clId="{08CB7AFF-9294-498D-B254-DA7363DFDCA7}" dt="2022-04-04T19:23:58.384" v="272"/>
          <ac:spMkLst>
            <pc:docMk/>
            <pc:sldMk cId="399736881" sldId="2146846153"/>
            <ac:spMk id="72" creationId="{E9FEABB7-D820-4C77-ABB7-4247A356988C}"/>
          </ac:spMkLst>
        </pc:spChg>
      </pc:sldChg>
      <pc:sldChg chg="addSp modSp add mod">
        <pc:chgData name="Daniel Muñoz Segura" userId="5f248e46-5f71-4343-9f7d-d0058a4af8ed" providerId="ADAL" clId="{08CB7AFF-9294-498D-B254-DA7363DFDCA7}" dt="2022-04-04T19:27:23.505" v="482" actId="1036"/>
        <pc:sldMkLst>
          <pc:docMk/>
          <pc:sldMk cId="3506125501" sldId="2146846154"/>
        </pc:sldMkLst>
        <pc:spChg chg="add mod">
          <ac:chgData name="Daniel Muñoz Segura" userId="5f248e46-5f71-4343-9f7d-d0058a4af8ed" providerId="ADAL" clId="{08CB7AFF-9294-498D-B254-DA7363DFDCA7}" dt="2022-04-04T19:27:23.505" v="482" actId="1036"/>
          <ac:spMkLst>
            <pc:docMk/>
            <pc:sldMk cId="3506125501" sldId="2146846154"/>
            <ac:spMk id="19" creationId="{3AB146A3-1D76-4518-9C52-4E46BB5178C6}"/>
          </ac:spMkLst>
        </pc:spChg>
      </pc:sldChg>
      <pc:sldChg chg="modSp add mod">
        <pc:chgData name="Daniel Muñoz Segura" userId="5f248e46-5f71-4343-9f7d-d0058a4af8ed" providerId="ADAL" clId="{08CB7AFF-9294-498D-B254-DA7363DFDCA7}" dt="2022-04-04T19:29:11.055" v="606" actId="20577"/>
        <pc:sldMkLst>
          <pc:docMk/>
          <pc:sldMk cId="3679195239" sldId="2146846155"/>
        </pc:sldMkLst>
        <pc:spChg chg="mod">
          <ac:chgData name="Daniel Muñoz Segura" userId="5f248e46-5f71-4343-9f7d-d0058a4af8ed" providerId="ADAL" clId="{08CB7AFF-9294-498D-B254-DA7363DFDCA7}" dt="2022-04-04T19:29:11.055" v="606" actId="20577"/>
          <ac:spMkLst>
            <pc:docMk/>
            <pc:sldMk cId="3679195239" sldId="2146846155"/>
            <ac:spMk id="8" creationId="{F3692B0D-82AC-41A6-A5BD-1A4B9AC9B985}"/>
          </ac:spMkLst>
        </pc:spChg>
      </pc:sldChg>
      <pc:sldMasterChg chg="delSldLayout">
        <pc:chgData name="Daniel Muñoz Segura" userId="5f248e46-5f71-4343-9f7d-d0058a4af8ed" providerId="ADAL" clId="{08CB7AFF-9294-498D-B254-DA7363DFDCA7}" dt="2022-04-04T19:18:28.108" v="1" actId="2696"/>
        <pc:sldMasterMkLst>
          <pc:docMk/>
          <pc:sldMasterMk cId="2023246918" sldId="2147483660"/>
        </pc:sldMasterMkLst>
        <pc:sldLayoutChg chg="del">
          <pc:chgData name="Daniel Muñoz Segura" userId="5f248e46-5f71-4343-9f7d-d0058a4af8ed" providerId="ADAL" clId="{08CB7AFF-9294-498D-B254-DA7363DFDCA7}" dt="2022-04-04T19:18:28.108" v="1" actId="2696"/>
          <pc:sldLayoutMkLst>
            <pc:docMk/>
            <pc:sldMasterMk cId="2023246918" sldId="2147483660"/>
            <pc:sldLayoutMk cId="560737642" sldId="2147483983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23E4BD6-E97A-46A4-AA30-568852B539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774AE6-0DA8-408F-8134-DDABC2EE87C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287E9E-D2F8-4C1C-BC9F-E2CABAE66FE1}" type="datetimeFigureOut">
              <a:rPr lang="es-ES_tradnl" smtClean="0"/>
              <a:t>04/04/2022</a:t>
            </a:fld>
            <a:endParaRPr lang="es-ES_trad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DC6ADC-9CF6-47F3-86B4-4F7930AEF62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5CB9E5-1AC4-4BEF-9A42-4B32FD446B4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63E78-60CA-441E-BA25-D241C8EDB6A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5576315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72FAD-8778-405C-8921-79F3C25589D4}" type="datetimeFigureOut">
              <a:rPr lang="es-MX" smtClean="0"/>
              <a:t>04/04/2022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325E69-1CAA-46A9-A4D5-F2855D38AA5E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59306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419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50A416-AD79-4A78-B265-0B969D69B126}" type="slidenum">
              <a:rPr lang="es-419" smtClean="0"/>
              <a:t>1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4227070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25E69-1CAA-46A9-A4D5-F2855D38AA5E}" type="slidenum">
              <a:rPr lang="es-MX" smtClean="0"/>
              <a:t>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7443856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F9F767-47C5-4159-9C6D-07FF4FB6B98F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3111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F9F767-47C5-4159-9C6D-07FF4FB6B98F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04998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F9F767-47C5-4159-9C6D-07FF4FB6B98F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3111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F9F767-47C5-4159-9C6D-07FF4FB6B98F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3111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25E69-1CAA-46A9-A4D5-F2855D38AA5E}" type="slidenum">
              <a:rPr lang="es-MX" smtClean="0"/>
              <a:t>7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051353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81F21DB-5843-46A9-879C-3A5E8A7D9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4428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81F21DB-5843-46A9-879C-3A5E8A7D9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176DC3-498F-4458-81DC-BF5F57B40C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2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461840"/>
            <a:ext cx="10972800" cy="706698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1273101"/>
            <a:ext cx="1800000" cy="0"/>
          </a:xfrm>
          <a:prstGeom prst="line">
            <a:avLst/>
          </a:prstGeom>
          <a:noFill/>
          <a:ln w="57150" cap="flat" cmpd="sng" algn="ctr">
            <a:solidFill>
              <a:srgbClr val="EA3A5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7048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89037011-340B-4BAD-A1B2-4E561233D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410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89037011-340B-4BAD-A1B2-4E561233D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64DBBD2-31FA-49D4-A73C-F5618417CD78}"/>
              </a:ext>
            </a:extLst>
          </p:cNvPr>
          <p:cNvGrpSpPr/>
          <p:nvPr userDrawn="1"/>
        </p:nvGrpSpPr>
        <p:grpSpPr>
          <a:xfrm>
            <a:off x="317500" y="-143933"/>
            <a:ext cx="11874500" cy="7001933"/>
            <a:chOff x="317500" y="-143933"/>
            <a:chExt cx="11874500" cy="700193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65D2D27-6251-427D-8CD6-3877A0D07EA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500" y="-143933"/>
              <a:ext cx="4876800" cy="4876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2A3BC59E-D672-4A55-BAD3-02C118600F0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894"/>
            <a:stretch/>
          </p:blipFill>
          <p:spPr bwMode="auto">
            <a:xfrm>
              <a:off x="5413692" y="0"/>
              <a:ext cx="4876800" cy="43455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A298334-0A8D-4F7D-BB05-50FDF31C692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7400"/>
            <a:stretch/>
          </p:blipFill>
          <p:spPr bwMode="auto">
            <a:xfrm>
              <a:off x="1660525" y="4732867"/>
              <a:ext cx="4876800" cy="2077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C22F954-1D87-436F-A5A9-D0541938DB3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9185" b="-1"/>
            <a:stretch/>
          </p:blipFill>
          <p:spPr bwMode="auto">
            <a:xfrm rot="5400000">
              <a:off x="9002183" y="2581804"/>
              <a:ext cx="4876800" cy="15028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F425A56-2CCE-4909-8AB3-844871F624B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820" t="10432" r="-2089" b="41651"/>
            <a:stretch/>
          </p:blipFill>
          <p:spPr bwMode="auto">
            <a:xfrm>
              <a:off x="6756717" y="4521199"/>
              <a:ext cx="4207192" cy="23368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576704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point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7541395"/>
              </p:ext>
            </p:extLst>
          </p:nvPr>
        </p:nvGraphicFramePr>
        <p:xfrm>
          <a:off x="1960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60" y="159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34648" y="6669088"/>
            <a:ext cx="1099893" cy="188912"/>
          </a:xfrm>
        </p:spPr>
        <p:txBody>
          <a:bodyPr/>
          <a:lstStyle/>
          <a:p>
            <a:fld id="{10909890-F8C3-400A-8C8A-FCCAD85E9D1A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34647" y="1628777"/>
            <a:ext cx="10722711" cy="4770439"/>
          </a:xfrm>
        </p:spPr>
        <p:txBody>
          <a:bodyPr>
            <a:noAutofit/>
          </a:bodyPr>
          <a:lstStyle>
            <a:lvl1pPr marL="166158" indent="-166158">
              <a:spcBef>
                <a:spcPts val="1108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77" baseline="0"/>
            </a:lvl1pPr>
            <a:lvl2pPr marL="332316" indent="-166158">
              <a:spcBef>
                <a:spcPts val="1108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77" baseline="0"/>
            </a:lvl2pPr>
            <a:lvl3pPr marL="498474" indent="-166158">
              <a:spcBef>
                <a:spcPts val="1108"/>
              </a:spcBef>
              <a:spcAft>
                <a:spcPts val="0"/>
              </a:spcAft>
              <a:buFont typeface="Wingdings" panose="05000000000000000000" pitchFamily="2" charset="2"/>
              <a:buChar char="§"/>
              <a:tabLst>
                <a:tab pos="247657" algn="l"/>
              </a:tabLst>
              <a:defRPr sz="1477" baseline="0"/>
            </a:lvl3pPr>
            <a:lvl4pPr marL="329720" indent="-82064">
              <a:spcBef>
                <a:spcPts val="554"/>
              </a:spcBef>
              <a:spcAft>
                <a:spcPts val="0"/>
              </a:spcAft>
              <a:defRPr sz="1292"/>
            </a:lvl4pPr>
            <a:lvl5pPr marL="411784" indent="-82064">
              <a:spcBef>
                <a:spcPts val="554"/>
              </a:spcBef>
              <a:spcAft>
                <a:spcPts val="0"/>
              </a:spcAft>
              <a:defRPr sz="1292"/>
            </a:lvl5pPr>
          </a:lstStyle>
          <a:p>
            <a:pPr lvl="0"/>
            <a:r>
              <a:rPr lang="en-US"/>
              <a:t>First level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734647" y="1224006"/>
            <a:ext cx="10722711" cy="404775"/>
          </a:xfrm>
        </p:spPr>
        <p:txBody>
          <a:bodyPr vert="horz" lIns="0" tIns="0" rIns="0" bIns="0" rtlCol="0" anchor="t">
            <a:noAutofit/>
          </a:bodyPr>
          <a:lstStyle>
            <a:lvl1pPr marL="211021" indent="-211021">
              <a:buNone/>
              <a:defRPr lang="en-US" sz="1661" dirty="0">
                <a:solidFill>
                  <a:schemeClr val="accent3"/>
                </a:solidFill>
              </a:defRPr>
            </a:lvl1pPr>
          </a:lstStyle>
          <a:p>
            <a:pPr marL="0" lvl="0" indent="0">
              <a:spcAft>
                <a:spcPts val="461"/>
              </a:spcAft>
            </a:pPr>
            <a:r>
              <a:rPr lang="en-US"/>
              <a:t>Subtit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734648" y="157652"/>
            <a:ext cx="804707" cy="170496"/>
          </a:xfrm>
        </p:spPr>
        <p:txBody>
          <a:bodyPr wrap="none">
            <a:spAutoFit/>
          </a:bodyPr>
          <a:lstStyle>
            <a:lvl1pPr marL="0" indent="0">
              <a:buNone/>
              <a:defRPr lang="en-US" sz="1108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22042" indent="0">
              <a:buNone/>
              <a:defRPr lang="en-US" sz="1108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844083" indent="0">
              <a:buNone/>
              <a:defRPr lang="en-US" sz="1108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266124" indent="0">
              <a:buNone/>
              <a:defRPr lang="en-US" sz="1108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688165" indent="0">
              <a:buNone/>
              <a:defRPr lang="en-GB" sz="1108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942158" y="6660841"/>
            <a:ext cx="617157" cy="113749"/>
          </a:xfrm>
        </p:spPr>
        <p:txBody>
          <a:bodyPr wrap="none">
            <a:spAutoFit/>
          </a:bodyPr>
          <a:lstStyle>
            <a:lvl1pPr marL="0" indent="0">
              <a:buNone/>
              <a:defRPr lang="en-US" sz="739" kern="1200" baseline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22042" indent="0">
              <a:buNone/>
              <a:defRPr lang="en-US" sz="1108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844083" indent="0">
              <a:buNone/>
              <a:defRPr lang="en-US" sz="1108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266124" indent="0">
              <a:buNone/>
              <a:defRPr lang="en-US" sz="1108" kern="120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688165" indent="0">
              <a:buNone/>
              <a:defRPr lang="en-GB" sz="1108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RHI </a:t>
            </a:r>
            <a:r>
              <a:rPr lang="en-US" err="1"/>
              <a:t>Magnesita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7439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628962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81600" y="6516000"/>
            <a:ext cx="603974" cy="227929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fld id="{4E088A79-16B0-EB47-9803-132C51922F54}" type="slidenum">
              <a:rPr lang="en-US" sz="1000">
                <a:solidFill>
                  <a:srgbClr val="FFFFFF"/>
                </a:solidFill>
              </a:rPr>
              <a:pPr/>
              <a:t>‹#›</a:t>
            </a:fld>
            <a:endParaRPr lang="en-US" sz="1000">
              <a:solidFill>
                <a:srgbClr val="FFFFFF"/>
              </a:solidFill>
            </a:endParaRPr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-823200" y="6516000"/>
            <a:ext cx="4579200" cy="201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chemeClr val="tx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rgbClr val="FFFFFF"/>
                </a:solidFill>
                <a:latin typeface="Arial"/>
              </a:rPr>
              <a:t>Strictly Private &amp; Confidential</a:t>
            </a:r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243285" y="6465868"/>
            <a:ext cx="366315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27850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8322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727365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rgbClr val="EA3A55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5845879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B34AE16-8082-4E8F-A152-7D608DAFC3CE}"/>
              </a:ext>
            </a:extLst>
          </p:cNvPr>
          <p:cNvCxnSpPr>
            <a:cxnSpLocks/>
          </p:cNvCxnSpPr>
          <p:nvPr userDrawn="1"/>
        </p:nvCxnSpPr>
        <p:spPr>
          <a:xfrm>
            <a:off x="1290587" y="1233035"/>
            <a:ext cx="7160394" cy="0"/>
          </a:xfrm>
          <a:prstGeom prst="line">
            <a:avLst/>
          </a:prstGeom>
          <a:ln w="9525">
            <a:solidFill>
              <a:srgbClr val="EA3A5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27933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59352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 0 All 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3">
            <a:extLst>
              <a:ext uri="{FF2B5EF4-FFF2-40B4-BE49-F238E27FC236}">
                <a16:creationId xmlns:a16="http://schemas.microsoft.com/office/drawing/2014/main" id="{CB1DA858-745B-4032-8500-4145C75561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  <p:pic>
        <p:nvPicPr>
          <p:cNvPr id="6" name="Picture 4" descr="Nelson Mandela, South Africa&amp;#39;s first black president in history, dies at 95">
            <a:extLst>
              <a:ext uri="{FF2B5EF4-FFF2-40B4-BE49-F238E27FC236}">
                <a16:creationId xmlns:a16="http://schemas.microsoft.com/office/drawing/2014/main" id="{0CE0486E-3187-4A07-9E57-70EF6DECE6D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-4685" r="-2712" b="4780"/>
          <a:stretch/>
        </p:blipFill>
        <p:spPr bwMode="auto">
          <a:xfrm>
            <a:off x="1" y="-305148"/>
            <a:ext cx="10769599" cy="7130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3155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113436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E4D16436-264F-4351-AD6B-1D2232DAB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0751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25806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E4D16436-264F-4351-AD6B-1D2232DAB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9886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E4D16436-264F-4351-AD6B-1D2232DAB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  <p:pic>
        <p:nvPicPr>
          <p:cNvPr id="8" name="Picture 4">
            <a:extLst>
              <a:ext uri="{FF2B5EF4-FFF2-40B4-BE49-F238E27FC236}">
                <a16:creationId xmlns:a16="http://schemas.microsoft.com/office/drawing/2014/main" id="{B4EA689D-80F7-4CD1-B2F1-CAEA0F1721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2544" y="0"/>
            <a:ext cx="4876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C76B4DBF-9FB2-49CD-9916-3E041CA5728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71"/>
          <a:stretch/>
        </p:blipFill>
        <p:spPr bwMode="auto">
          <a:xfrm>
            <a:off x="-1" y="0"/>
            <a:ext cx="3429803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8373B186-8D07-4B83-86BE-C88123E3037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619"/>
          <a:stretch/>
        </p:blipFill>
        <p:spPr bwMode="auto">
          <a:xfrm>
            <a:off x="7979344" y="0"/>
            <a:ext cx="4212656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8D6260DF-65BA-4B8E-93B3-CC06118EA2D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989"/>
          <a:stretch/>
        </p:blipFill>
        <p:spPr bwMode="auto">
          <a:xfrm>
            <a:off x="-1" y="4711700"/>
            <a:ext cx="4876800" cy="214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5B9A083B-30D6-405F-8D76-C6762C4D1BD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" t="41448" r="-535" b="14541"/>
          <a:stretch/>
        </p:blipFill>
        <p:spPr bwMode="auto">
          <a:xfrm>
            <a:off x="4876799" y="4876800"/>
            <a:ext cx="4876800" cy="214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id="{0D8FEBFE-B555-4112-981D-BB471C6AA65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059" b="55989"/>
          <a:stretch/>
        </p:blipFill>
        <p:spPr bwMode="auto">
          <a:xfrm>
            <a:off x="9902791" y="4711700"/>
            <a:ext cx="2289209" cy="214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13984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A281CDC-D1D4-4F04-9840-456D233527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456770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98" imgH="499" progId="TCLayout.ActiveDocument.1">
                  <p:embed/>
                </p:oleObj>
              </mc:Choice>
              <mc:Fallback>
                <p:oleObj name="think-cell Slide" r:id="rId18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A281CDC-D1D4-4F04-9840-456D23352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1BD1DB-0BED-4B26-9D4D-918AD44E57CF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324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670" r:id="rId2"/>
    <p:sldLayoutId id="2147483699" r:id="rId3"/>
    <p:sldLayoutId id="2147483711" r:id="rId4"/>
    <p:sldLayoutId id="2147483985" r:id="rId5"/>
    <p:sldLayoutId id="2147484017" r:id="rId6"/>
    <p:sldLayoutId id="2147483986" r:id="rId7"/>
    <p:sldLayoutId id="2147484018" r:id="rId8"/>
    <p:sldLayoutId id="2147484021" r:id="rId9"/>
    <p:sldLayoutId id="2147483987" r:id="rId10"/>
    <p:sldLayoutId id="2147484020" r:id="rId11"/>
    <p:sldLayoutId id="2147483991" r:id="rId12"/>
    <p:sldLayoutId id="2147484019" r:id="rId13"/>
    <p:sldLayoutId id="2147484022" r:id="rId14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DB93BF36-213B-47FF-AD74-12BD8DA044F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arcador de texto 5">
            <a:extLst>
              <a:ext uri="{FF2B5EF4-FFF2-40B4-BE49-F238E27FC236}">
                <a16:creationId xmlns:a16="http://schemas.microsoft.com/office/drawing/2014/main" id="{4F9DB30C-B311-4C6B-A32E-4858E3288E77}"/>
              </a:ext>
            </a:extLst>
          </p:cNvPr>
          <p:cNvSpPr txBox="1">
            <a:spLocks/>
          </p:cNvSpPr>
          <p:nvPr/>
        </p:nvSpPr>
        <p:spPr>
          <a:xfrm>
            <a:off x="751791" y="2167546"/>
            <a:ext cx="10413514" cy="406481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_tradnl" sz="4400" cap="all">
                <a:solidFill>
                  <a:srgbClr val="453192"/>
                </a:solidFill>
                <a:latin typeface="Arial"/>
                <a:cs typeface="Arial"/>
              </a:rPr>
              <a:t>CHALLENGE</a:t>
            </a:r>
          </a:p>
          <a:p>
            <a:r>
              <a:rPr lang="es-ES_tradnl" sz="4800" cap="all" err="1">
                <a:solidFill>
                  <a:srgbClr val="453192"/>
                </a:solidFill>
                <a:highlight>
                  <a:srgbClr val="FFFFFF"/>
                </a:highlight>
                <a:latin typeface="Arial"/>
                <a:cs typeface="Arial"/>
              </a:rPr>
              <a:t>Growing</a:t>
            </a:r>
            <a:r>
              <a:rPr lang="es-ES_tradnl" sz="4800" cap="all">
                <a:solidFill>
                  <a:srgbClr val="453192"/>
                </a:solidFill>
                <a:highlight>
                  <a:srgbClr val="FFFFFF"/>
                </a:highlight>
                <a:latin typeface="Arial"/>
                <a:cs typeface="Arial"/>
              </a:rPr>
              <a:t> </a:t>
            </a:r>
            <a:r>
              <a:rPr lang="es-ES_tradnl" sz="4800" cap="all" err="1">
                <a:solidFill>
                  <a:srgbClr val="453192"/>
                </a:solidFill>
                <a:highlight>
                  <a:srgbClr val="FFFFFF"/>
                </a:highlight>
                <a:latin typeface="Arial"/>
                <a:cs typeface="Arial"/>
              </a:rPr>
              <a:t>together</a:t>
            </a:r>
            <a:r>
              <a:rPr lang="es-ES_tradnl" sz="4800" cap="all">
                <a:solidFill>
                  <a:srgbClr val="453192"/>
                </a:solidFill>
                <a:highlight>
                  <a:srgbClr val="FFFFFF"/>
                </a:highlight>
                <a:latin typeface="Arial"/>
                <a:cs typeface="Arial"/>
              </a:rPr>
              <a:t> in </a:t>
            </a:r>
            <a:r>
              <a:rPr lang="es-ES_tradnl" sz="4800" cap="all" err="1">
                <a:solidFill>
                  <a:srgbClr val="453192"/>
                </a:solidFill>
                <a:highlight>
                  <a:srgbClr val="FFFFFF"/>
                </a:highlight>
                <a:latin typeface="Arial"/>
                <a:cs typeface="Arial"/>
              </a:rPr>
              <a:t>the</a:t>
            </a:r>
            <a:r>
              <a:rPr lang="es-ES_tradnl" sz="4800" cap="all">
                <a:solidFill>
                  <a:srgbClr val="453192"/>
                </a:solidFill>
                <a:highlight>
                  <a:srgbClr val="FFFFFF"/>
                </a:highlight>
                <a:latin typeface="Arial"/>
                <a:cs typeface="Arial"/>
              </a:rPr>
              <a:t> </a:t>
            </a:r>
            <a:r>
              <a:rPr lang="es-ES_tradnl" sz="4800" cap="all" err="1">
                <a:solidFill>
                  <a:srgbClr val="453192"/>
                </a:solidFill>
                <a:highlight>
                  <a:srgbClr val="FFFFFF"/>
                </a:highlight>
                <a:latin typeface="Arial"/>
                <a:cs typeface="Arial"/>
              </a:rPr>
              <a:t>americas</a:t>
            </a:r>
            <a:endParaRPr lang="es-ES_tradnl" sz="4800" cap="all">
              <a:solidFill>
                <a:srgbClr val="453192"/>
              </a:solidFill>
              <a:highlight>
                <a:srgbClr val="FFFFFF"/>
              </a:highlight>
              <a:latin typeface="Arial"/>
              <a:cs typeface="Arial"/>
            </a:endParaRPr>
          </a:p>
          <a:p>
            <a:r>
              <a:rPr lang="es-ES_tradnl" b="0" cap="all" err="1">
                <a:solidFill>
                  <a:schemeClr val="bg1"/>
                </a:solidFill>
                <a:latin typeface="Arial"/>
                <a:cs typeface="Arial"/>
              </a:rPr>
              <a:t>Digitalisation</a:t>
            </a:r>
            <a:r>
              <a:rPr lang="es-ES_tradnl" b="0" cap="all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s-ES_tradnl" b="0" cap="all" err="1">
                <a:solidFill>
                  <a:schemeClr val="bg1"/>
                </a:solidFill>
                <a:latin typeface="Arial"/>
                <a:cs typeface="Arial"/>
              </a:rPr>
              <a:t>for</a:t>
            </a:r>
            <a:r>
              <a:rPr lang="es-ES_tradnl" b="0" cap="all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s-ES_tradnl" b="0" cap="all" err="1">
                <a:solidFill>
                  <a:schemeClr val="bg1"/>
                </a:solidFill>
                <a:latin typeface="Arial"/>
                <a:cs typeface="Arial"/>
              </a:rPr>
              <a:t>international</a:t>
            </a:r>
            <a:r>
              <a:rPr lang="es-ES_tradnl" b="0" cap="all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s-ES_tradnl" b="0" cap="all" err="1">
                <a:solidFill>
                  <a:schemeClr val="bg1"/>
                </a:solidFill>
                <a:latin typeface="Arial"/>
                <a:cs typeface="Arial"/>
              </a:rPr>
              <a:t>trade</a:t>
            </a:r>
            <a:r>
              <a:rPr lang="es-ES_tradnl" b="0" cap="all">
                <a:solidFill>
                  <a:schemeClr val="bg1"/>
                </a:solidFill>
                <a:latin typeface="Arial"/>
                <a:cs typeface="Arial"/>
              </a:rPr>
              <a:t> </a:t>
            </a:r>
          </a:p>
          <a:p>
            <a:r>
              <a:rPr lang="es-ES_tradnl" b="0" cap="all" err="1">
                <a:solidFill>
                  <a:schemeClr val="bg1"/>
                </a:solidFill>
                <a:latin typeface="Arial"/>
                <a:cs typeface="Arial"/>
              </a:rPr>
              <a:t>challenge</a:t>
            </a:r>
            <a:endParaRPr lang="en-US" b="0" cap="all">
              <a:solidFill>
                <a:schemeClr val="bg1"/>
              </a:solidFill>
              <a:latin typeface="Arial"/>
              <a:cs typeface="Arial"/>
            </a:endParaRPr>
          </a:p>
          <a:p>
            <a:r>
              <a:rPr lang="es-ES_tradnl" b="0" cap="all">
                <a:solidFill>
                  <a:schemeClr val="bg1"/>
                </a:solidFill>
                <a:latin typeface="Arial"/>
                <a:cs typeface="Arial"/>
              </a:rPr>
              <a:t> 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C814B732-139D-411F-B25D-7826D09F8C4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6695" y="1010652"/>
            <a:ext cx="2955591" cy="1690939"/>
          </a:xfrm>
          <a:prstGeom prst="rect">
            <a:avLst/>
          </a:prstGeom>
        </p:spPr>
      </p:pic>
      <p:pic>
        <p:nvPicPr>
          <p:cNvPr id="13" name="Picture 6">
            <a:extLst>
              <a:ext uri="{FF2B5EF4-FFF2-40B4-BE49-F238E27FC236}">
                <a16:creationId xmlns:a16="http://schemas.microsoft.com/office/drawing/2014/main" id="{B2FCE2D2-FCC1-4111-8F70-065A2D2577D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225" y="5620207"/>
            <a:ext cx="1388232" cy="587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2874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3E24BFF-A0DB-4ECE-96D3-5EAB937B7323}"/>
              </a:ext>
            </a:extLst>
          </p:cNvPr>
          <p:cNvSpPr txBox="1"/>
          <p:nvPr/>
        </p:nvSpPr>
        <p:spPr>
          <a:xfrm>
            <a:off x="553451" y="362193"/>
            <a:ext cx="10838046" cy="901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4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RUCTIONS</a:t>
            </a:r>
            <a:endParaRPr lang="en-GB" sz="4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24824E-F86D-4BF1-A73F-457CD5F4A18D}"/>
              </a:ext>
            </a:extLst>
          </p:cNvPr>
          <p:cNvSpPr txBox="1"/>
          <p:nvPr/>
        </p:nvSpPr>
        <p:spPr>
          <a:xfrm>
            <a:off x="639233" y="1415484"/>
            <a:ext cx="10752264" cy="4662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this challenge you have to present a </a:t>
            </a:r>
            <a:r>
              <a:rPr lang="en-US" b="1" dirty="0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mpetitive Value Train 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the identification of the associated </a:t>
            </a:r>
            <a:r>
              <a:rPr lang="en-US" b="1" dirty="0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firms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The Competitive Value Train templates can be found on the following pages. 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le it is not necessary to use these templates, it is expected that </a:t>
            </a:r>
            <a:r>
              <a:rPr lang="en-US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d information is included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regardless of the format used.</a:t>
            </a:r>
            <a:endParaRPr lang="en-GB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GB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 digital tools that can help you build the customer journey are</a:t>
            </a:r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GB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cidchart</a:t>
            </a:r>
            <a:endParaRPr lang="en-GB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ral</a:t>
            </a: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ro</a:t>
            </a: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etch</a:t>
            </a: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obe XD</a:t>
            </a:r>
          </a:p>
          <a:p>
            <a:pPr marL="285750" marR="0" lvl="0" indent="-28575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gma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8EA5FB2-E061-4F05-8F80-5F71CF64B337}"/>
              </a:ext>
            </a:extLst>
          </p:cNvPr>
          <p:cNvSpPr/>
          <p:nvPr/>
        </p:nvSpPr>
        <p:spPr>
          <a:xfrm>
            <a:off x="3310467" y="4544363"/>
            <a:ext cx="7916334" cy="1685634"/>
          </a:xfrm>
          <a:custGeom>
            <a:avLst/>
            <a:gdLst>
              <a:gd name="connsiteX0" fmla="*/ 0 w 7916334"/>
              <a:gd name="connsiteY0" fmla="*/ 280945 h 1685634"/>
              <a:gd name="connsiteX1" fmla="*/ 280945 w 7916334"/>
              <a:gd name="connsiteY1" fmla="*/ 0 h 1685634"/>
              <a:gd name="connsiteX2" fmla="*/ 875986 w 7916334"/>
              <a:gd name="connsiteY2" fmla="*/ 0 h 1685634"/>
              <a:gd name="connsiteX3" fmla="*/ 1397483 w 7916334"/>
              <a:gd name="connsiteY3" fmla="*/ 0 h 1685634"/>
              <a:gd name="connsiteX4" fmla="*/ 2066069 w 7916334"/>
              <a:gd name="connsiteY4" fmla="*/ 0 h 1685634"/>
              <a:gd name="connsiteX5" fmla="*/ 2881744 w 7916334"/>
              <a:gd name="connsiteY5" fmla="*/ 0 h 1685634"/>
              <a:gd name="connsiteX6" fmla="*/ 3623874 w 7916334"/>
              <a:gd name="connsiteY6" fmla="*/ 0 h 1685634"/>
              <a:gd name="connsiteX7" fmla="*/ 4292460 w 7916334"/>
              <a:gd name="connsiteY7" fmla="*/ 0 h 1685634"/>
              <a:gd name="connsiteX8" fmla="*/ 4887501 w 7916334"/>
              <a:gd name="connsiteY8" fmla="*/ 0 h 1685634"/>
              <a:gd name="connsiteX9" fmla="*/ 5629632 w 7916334"/>
              <a:gd name="connsiteY9" fmla="*/ 0 h 1685634"/>
              <a:gd name="connsiteX10" fmla="*/ 6371762 w 7916334"/>
              <a:gd name="connsiteY10" fmla="*/ 0 h 1685634"/>
              <a:gd name="connsiteX11" fmla="*/ 7635389 w 7916334"/>
              <a:gd name="connsiteY11" fmla="*/ 0 h 1685634"/>
              <a:gd name="connsiteX12" fmla="*/ 7916334 w 7916334"/>
              <a:gd name="connsiteY12" fmla="*/ 280945 h 1685634"/>
              <a:gd name="connsiteX13" fmla="*/ 7916334 w 7916334"/>
              <a:gd name="connsiteY13" fmla="*/ 820342 h 1685634"/>
              <a:gd name="connsiteX14" fmla="*/ 7916334 w 7916334"/>
              <a:gd name="connsiteY14" fmla="*/ 1404689 h 1685634"/>
              <a:gd name="connsiteX15" fmla="*/ 7635389 w 7916334"/>
              <a:gd name="connsiteY15" fmla="*/ 1685634 h 1685634"/>
              <a:gd name="connsiteX16" fmla="*/ 6966803 w 7916334"/>
              <a:gd name="connsiteY16" fmla="*/ 1685634 h 1685634"/>
              <a:gd name="connsiteX17" fmla="*/ 6445306 w 7916334"/>
              <a:gd name="connsiteY17" fmla="*/ 1685634 h 1685634"/>
              <a:gd name="connsiteX18" fmla="*/ 5703176 w 7916334"/>
              <a:gd name="connsiteY18" fmla="*/ 1685634 h 1685634"/>
              <a:gd name="connsiteX19" fmla="*/ 5181679 w 7916334"/>
              <a:gd name="connsiteY19" fmla="*/ 1685634 h 1685634"/>
              <a:gd name="connsiteX20" fmla="*/ 4366004 w 7916334"/>
              <a:gd name="connsiteY20" fmla="*/ 1685634 h 1685634"/>
              <a:gd name="connsiteX21" fmla="*/ 3550330 w 7916334"/>
              <a:gd name="connsiteY21" fmla="*/ 1685634 h 1685634"/>
              <a:gd name="connsiteX22" fmla="*/ 3028833 w 7916334"/>
              <a:gd name="connsiteY22" fmla="*/ 1685634 h 1685634"/>
              <a:gd name="connsiteX23" fmla="*/ 2360247 w 7916334"/>
              <a:gd name="connsiteY23" fmla="*/ 1685634 h 1685634"/>
              <a:gd name="connsiteX24" fmla="*/ 1691661 w 7916334"/>
              <a:gd name="connsiteY24" fmla="*/ 1685634 h 1685634"/>
              <a:gd name="connsiteX25" fmla="*/ 1243709 w 7916334"/>
              <a:gd name="connsiteY25" fmla="*/ 1685634 h 1685634"/>
              <a:gd name="connsiteX26" fmla="*/ 280945 w 7916334"/>
              <a:gd name="connsiteY26" fmla="*/ 1685634 h 1685634"/>
              <a:gd name="connsiteX27" fmla="*/ 0 w 7916334"/>
              <a:gd name="connsiteY27" fmla="*/ 1404689 h 1685634"/>
              <a:gd name="connsiteX28" fmla="*/ 0 w 7916334"/>
              <a:gd name="connsiteY28" fmla="*/ 820342 h 1685634"/>
              <a:gd name="connsiteX29" fmla="*/ 0 w 7916334"/>
              <a:gd name="connsiteY29" fmla="*/ 280945 h 1685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7916334" h="1685634" fill="none" extrusionOk="0">
                <a:moveTo>
                  <a:pt x="0" y="280945"/>
                </a:moveTo>
                <a:cubicBezTo>
                  <a:pt x="8686" y="112388"/>
                  <a:pt x="123905" y="12078"/>
                  <a:pt x="280945" y="0"/>
                </a:cubicBezTo>
                <a:cubicBezTo>
                  <a:pt x="526443" y="-6273"/>
                  <a:pt x="586624" y="-21946"/>
                  <a:pt x="875986" y="0"/>
                </a:cubicBezTo>
                <a:cubicBezTo>
                  <a:pt x="1165348" y="21946"/>
                  <a:pt x="1240520" y="-16083"/>
                  <a:pt x="1397483" y="0"/>
                </a:cubicBezTo>
                <a:cubicBezTo>
                  <a:pt x="1554446" y="16083"/>
                  <a:pt x="1817193" y="33048"/>
                  <a:pt x="2066069" y="0"/>
                </a:cubicBezTo>
                <a:cubicBezTo>
                  <a:pt x="2314945" y="-33048"/>
                  <a:pt x="2690987" y="-5942"/>
                  <a:pt x="2881744" y="0"/>
                </a:cubicBezTo>
                <a:cubicBezTo>
                  <a:pt x="3072501" y="5942"/>
                  <a:pt x="3263180" y="-13338"/>
                  <a:pt x="3623874" y="0"/>
                </a:cubicBezTo>
                <a:cubicBezTo>
                  <a:pt x="3984568" y="13338"/>
                  <a:pt x="4039823" y="9396"/>
                  <a:pt x="4292460" y="0"/>
                </a:cubicBezTo>
                <a:cubicBezTo>
                  <a:pt x="4545097" y="-9396"/>
                  <a:pt x="4725759" y="-25974"/>
                  <a:pt x="4887501" y="0"/>
                </a:cubicBezTo>
                <a:cubicBezTo>
                  <a:pt x="5049243" y="25974"/>
                  <a:pt x="5470497" y="-17084"/>
                  <a:pt x="5629632" y="0"/>
                </a:cubicBezTo>
                <a:cubicBezTo>
                  <a:pt x="5788767" y="17084"/>
                  <a:pt x="6018312" y="1864"/>
                  <a:pt x="6371762" y="0"/>
                </a:cubicBezTo>
                <a:cubicBezTo>
                  <a:pt x="6725212" y="-1864"/>
                  <a:pt x="7291115" y="45047"/>
                  <a:pt x="7635389" y="0"/>
                </a:cubicBezTo>
                <a:cubicBezTo>
                  <a:pt x="7771528" y="19448"/>
                  <a:pt x="7912878" y="94815"/>
                  <a:pt x="7916334" y="280945"/>
                </a:cubicBezTo>
                <a:cubicBezTo>
                  <a:pt x="7917585" y="520666"/>
                  <a:pt x="7898843" y="689552"/>
                  <a:pt x="7916334" y="820342"/>
                </a:cubicBezTo>
                <a:cubicBezTo>
                  <a:pt x="7933825" y="951132"/>
                  <a:pt x="7927545" y="1207443"/>
                  <a:pt x="7916334" y="1404689"/>
                </a:cubicBezTo>
                <a:cubicBezTo>
                  <a:pt x="7917131" y="1532366"/>
                  <a:pt x="7798011" y="1684424"/>
                  <a:pt x="7635389" y="1685634"/>
                </a:cubicBezTo>
                <a:cubicBezTo>
                  <a:pt x="7320177" y="1687384"/>
                  <a:pt x="7217246" y="1706661"/>
                  <a:pt x="6966803" y="1685634"/>
                </a:cubicBezTo>
                <a:cubicBezTo>
                  <a:pt x="6716360" y="1664607"/>
                  <a:pt x="6558210" y="1704627"/>
                  <a:pt x="6445306" y="1685634"/>
                </a:cubicBezTo>
                <a:cubicBezTo>
                  <a:pt x="6332402" y="1666641"/>
                  <a:pt x="5905520" y="1658854"/>
                  <a:pt x="5703176" y="1685634"/>
                </a:cubicBezTo>
                <a:cubicBezTo>
                  <a:pt x="5500832" y="1712415"/>
                  <a:pt x="5410441" y="1710631"/>
                  <a:pt x="5181679" y="1685634"/>
                </a:cubicBezTo>
                <a:cubicBezTo>
                  <a:pt x="4952917" y="1660637"/>
                  <a:pt x="4545398" y="1679211"/>
                  <a:pt x="4366004" y="1685634"/>
                </a:cubicBezTo>
                <a:cubicBezTo>
                  <a:pt x="4186611" y="1692057"/>
                  <a:pt x="3741508" y="1661439"/>
                  <a:pt x="3550330" y="1685634"/>
                </a:cubicBezTo>
                <a:cubicBezTo>
                  <a:pt x="3359152" y="1709829"/>
                  <a:pt x="3269414" y="1704460"/>
                  <a:pt x="3028833" y="1685634"/>
                </a:cubicBezTo>
                <a:cubicBezTo>
                  <a:pt x="2788252" y="1666808"/>
                  <a:pt x="2538203" y="1694599"/>
                  <a:pt x="2360247" y="1685634"/>
                </a:cubicBezTo>
                <a:cubicBezTo>
                  <a:pt x="2182291" y="1676669"/>
                  <a:pt x="1923377" y="1659041"/>
                  <a:pt x="1691661" y="1685634"/>
                </a:cubicBezTo>
                <a:cubicBezTo>
                  <a:pt x="1459945" y="1712227"/>
                  <a:pt x="1380054" y="1694010"/>
                  <a:pt x="1243709" y="1685634"/>
                </a:cubicBezTo>
                <a:cubicBezTo>
                  <a:pt x="1107364" y="1677258"/>
                  <a:pt x="529708" y="1668238"/>
                  <a:pt x="280945" y="1685634"/>
                </a:cubicBezTo>
                <a:cubicBezTo>
                  <a:pt x="133183" y="1711476"/>
                  <a:pt x="-7859" y="1568247"/>
                  <a:pt x="0" y="1404689"/>
                </a:cubicBezTo>
                <a:cubicBezTo>
                  <a:pt x="-13873" y="1226108"/>
                  <a:pt x="-553" y="1088649"/>
                  <a:pt x="0" y="820342"/>
                </a:cubicBezTo>
                <a:cubicBezTo>
                  <a:pt x="553" y="552035"/>
                  <a:pt x="-107" y="498928"/>
                  <a:pt x="0" y="280945"/>
                </a:cubicBezTo>
                <a:close/>
              </a:path>
              <a:path w="7916334" h="1685634" stroke="0" extrusionOk="0">
                <a:moveTo>
                  <a:pt x="0" y="280945"/>
                </a:moveTo>
                <a:cubicBezTo>
                  <a:pt x="-13003" y="139007"/>
                  <a:pt x="102217" y="7689"/>
                  <a:pt x="280945" y="0"/>
                </a:cubicBezTo>
                <a:cubicBezTo>
                  <a:pt x="424231" y="13003"/>
                  <a:pt x="606264" y="-18978"/>
                  <a:pt x="802442" y="0"/>
                </a:cubicBezTo>
                <a:cubicBezTo>
                  <a:pt x="998620" y="18978"/>
                  <a:pt x="1219701" y="11718"/>
                  <a:pt x="1397483" y="0"/>
                </a:cubicBezTo>
                <a:cubicBezTo>
                  <a:pt x="1575265" y="-11718"/>
                  <a:pt x="1715441" y="-17853"/>
                  <a:pt x="1845436" y="0"/>
                </a:cubicBezTo>
                <a:cubicBezTo>
                  <a:pt x="1975431" y="17853"/>
                  <a:pt x="2346732" y="-24439"/>
                  <a:pt x="2587566" y="0"/>
                </a:cubicBezTo>
                <a:cubicBezTo>
                  <a:pt x="2828400" y="24439"/>
                  <a:pt x="2986513" y="2689"/>
                  <a:pt x="3256152" y="0"/>
                </a:cubicBezTo>
                <a:cubicBezTo>
                  <a:pt x="3525791" y="-2689"/>
                  <a:pt x="3660342" y="-27038"/>
                  <a:pt x="3998282" y="0"/>
                </a:cubicBezTo>
                <a:cubicBezTo>
                  <a:pt x="4336222" y="27038"/>
                  <a:pt x="4463550" y="-13513"/>
                  <a:pt x="4813957" y="0"/>
                </a:cubicBezTo>
                <a:cubicBezTo>
                  <a:pt x="5164364" y="13513"/>
                  <a:pt x="5264492" y="10308"/>
                  <a:pt x="5482543" y="0"/>
                </a:cubicBezTo>
                <a:cubicBezTo>
                  <a:pt x="5700594" y="-10308"/>
                  <a:pt x="5876220" y="27483"/>
                  <a:pt x="6224673" y="0"/>
                </a:cubicBezTo>
                <a:cubicBezTo>
                  <a:pt x="6573126" y="-27483"/>
                  <a:pt x="6605784" y="702"/>
                  <a:pt x="6966803" y="0"/>
                </a:cubicBezTo>
                <a:cubicBezTo>
                  <a:pt x="7327822" y="-702"/>
                  <a:pt x="7420701" y="-20252"/>
                  <a:pt x="7635389" y="0"/>
                </a:cubicBezTo>
                <a:cubicBezTo>
                  <a:pt x="7810733" y="-7051"/>
                  <a:pt x="7920233" y="116248"/>
                  <a:pt x="7916334" y="280945"/>
                </a:cubicBezTo>
                <a:cubicBezTo>
                  <a:pt x="7899855" y="449367"/>
                  <a:pt x="7910690" y="595485"/>
                  <a:pt x="7916334" y="831580"/>
                </a:cubicBezTo>
                <a:cubicBezTo>
                  <a:pt x="7921978" y="1067675"/>
                  <a:pt x="7894503" y="1179226"/>
                  <a:pt x="7916334" y="1404689"/>
                </a:cubicBezTo>
                <a:cubicBezTo>
                  <a:pt x="7919227" y="1569254"/>
                  <a:pt x="7786898" y="1671161"/>
                  <a:pt x="7635389" y="1685634"/>
                </a:cubicBezTo>
                <a:cubicBezTo>
                  <a:pt x="7303704" y="1716693"/>
                  <a:pt x="7130494" y="1681264"/>
                  <a:pt x="6966803" y="1685634"/>
                </a:cubicBezTo>
                <a:cubicBezTo>
                  <a:pt x="6803112" y="1690004"/>
                  <a:pt x="6422209" y="1679518"/>
                  <a:pt x="6224673" y="1685634"/>
                </a:cubicBezTo>
                <a:cubicBezTo>
                  <a:pt x="6027137" y="1691751"/>
                  <a:pt x="5926754" y="1695106"/>
                  <a:pt x="5776720" y="1685634"/>
                </a:cubicBezTo>
                <a:cubicBezTo>
                  <a:pt x="5626686" y="1676162"/>
                  <a:pt x="5424174" y="1669907"/>
                  <a:pt x="5255223" y="1685634"/>
                </a:cubicBezTo>
                <a:cubicBezTo>
                  <a:pt x="5086272" y="1701361"/>
                  <a:pt x="4667209" y="1714754"/>
                  <a:pt x="4439549" y="1685634"/>
                </a:cubicBezTo>
                <a:cubicBezTo>
                  <a:pt x="4211889" y="1656514"/>
                  <a:pt x="4102094" y="1703913"/>
                  <a:pt x="3770963" y="1685634"/>
                </a:cubicBezTo>
                <a:cubicBezTo>
                  <a:pt x="3439832" y="1667355"/>
                  <a:pt x="3365912" y="1694124"/>
                  <a:pt x="3028833" y="1685634"/>
                </a:cubicBezTo>
                <a:cubicBezTo>
                  <a:pt x="2691754" y="1677145"/>
                  <a:pt x="2591610" y="1659600"/>
                  <a:pt x="2433791" y="1685634"/>
                </a:cubicBezTo>
                <a:cubicBezTo>
                  <a:pt x="2275972" y="1711668"/>
                  <a:pt x="1959429" y="1703281"/>
                  <a:pt x="1691661" y="1685634"/>
                </a:cubicBezTo>
                <a:cubicBezTo>
                  <a:pt x="1423893" y="1667988"/>
                  <a:pt x="1260851" y="1681770"/>
                  <a:pt x="1096620" y="1685634"/>
                </a:cubicBezTo>
                <a:cubicBezTo>
                  <a:pt x="932389" y="1689498"/>
                  <a:pt x="616784" y="1659176"/>
                  <a:pt x="280945" y="1685634"/>
                </a:cubicBezTo>
                <a:cubicBezTo>
                  <a:pt x="116665" y="1676301"/>
                  <a:pt x="-4228" y="1572424"/>
                  <a:pt x="0" y="1404689"/>
                </a:cubicBezTo>
                <a:cubicBezTo>
                  <a:pt x="-19867" y="1281009"/>
                  <a:pt x="-21464" y="1058349"/>
                  <a:pt x="0" y="876529"/>
                </a:cubicBezTo>
                <a:cubicBezTo>
                  <a:pt x="21464" y="694709"/>
                  <a:pt x="-17976" y="403049"/>
                  <a:pt x="0" y="280945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bg1">
                <a:lumMod val="95000"/>
              </a:schemeClr>
            </a:solidFill>
            <a:extLst>
              <a:ext uri="{C807C97D-BFC1-408E-A445-0C87EB9F89A2}">
                <ask:lineSketchStyleProps xmlns:ask="http://schemas.microsoft.com/office/drawing/2018/sketchyshapes" sd="3403945204">
                  <a:prstGeom prst="round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recommend that you choose whatever tool you are comfortable with.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't spend a lot of time learning how to use very complex tools. 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fore you start, check the restrictions of each tool (some may require payment for certain functionalities).</a:t>
            </a:r>
          </a:p>
        </p:txBody>
      </p:sp>
      <p:pic>
        <p:nvPicPr>
          <p:cNvPr id="4" name="Graphic 3" descr="Lights On with solid fill">
            <a:extLst>
              <a:ext uri="{FF2B5EF4-FFF2-40B4-BE49-F238E27FC236}">
                <a16:creationId xmlns:a16="http://schemas.microsoft.com/office/drawing/2014/main" id="{FE185935-83F9-42E2-BE95-6DF020A0FF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62867" y="492998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8146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6FE83AC4-C052-49C7-B409-A12A105CF3C5}"/>
              </a:ext>
            </a:extLst>
          </p:cNvPr>
          <p:cNvSpPr txBox="1"/>
          <p:nvPr/>
        </p:nvSpPr>
        <p:spPr>
          <a:xfrm>
            <a:off x="633680" y="228971"/>
            <a:ext cx="9915608" cy="4062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CO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ve</a:t>
            </a:r>
            <a:r>
              <a:rPr lang="es-CO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</a:t>
            </a:r>
            <a:r>
              <a:rPr lang="es-CO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ain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649A53F8-AE73-4F8F-ABDB-F177E388C834}"/>
              </a:ext>
            </a:extLst>
          </p:cNvPr>
          <p:cNvCxnSpPr>
            <a:cxnSpLocks/>
          </p:cNvCxnSpPr>
          <p:nvPr/>
        </p:nvCxnSpPr>
        <p:spPr>
          <a:xfrm>
            <a:off x="8840977" y="2852186"/>
            <a:ext cx="838174" cy="0"/>
          </a:xfrm>
          <a:prstGeom prst="straightConnector1">
            <a:avLst/>
          </a:prstGeom>
          <a:ln w="571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724DDCCD-15BA-489D-AD68-C488A9FF3F30}"/>
              </a:ext>
            </a:extLst>
          </p:cNvPr>
          <p:cNvCxnSpPr>
            <a:cxnSpLocks/>
          </p:cNvCxnSpPr>
          <p:nvPr/>
        </p:nvCxnSpPr>
        <p:spPr>
          <a:xfrm>
            <a:off x="5722334" y="2852186"/>
            <a:ext cx="838174" cy="0"/>
          </a:xfrm>
          <a:prstGeom prst="straightConnector1">
            <a:avLst/>
          </a:prstGeom>
          <a:ln w="571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4B9A0505-4FAE-48D9-9725-67E4CB760D91}"/>
              </a:ext>
            </a:extLst>
          </p:cNvPr>
          <p:cNvCxnSpPr>
            <a:cxnSpLocks/>
          </p:cNvCxnSpPr>
          <p:nvPr/>
        </p:nvCxnSpPr>
        <p:spPr>
          <a:xfrm>
            <a:off x="2534591" y="2743325"/>
            <a:ext cx="838174" cy="0"/>
          </a:xfrm>
          <a:prstGeom prst="straightConnector1">
            <a:avLst/>
          </a:prstGeom>
          <a:ln w="571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1632C23-DC8B-4C33-9D58-EDE169E5DB49}"/>
              </a:ext>
            </a:extLst>
          </p:cNvPr>
          <p:cNvCxnSpPr>
            <a:cxnSpLocks/>
          </p:cNvCxnSpPr>
          <p:nvPr/>
        </p:nvCxnSpPr>
        <p:spPr>
          <a:xfrm flipH="1">
            <a:off x="2517811" y="3775566"/>
            <a:ext cx="804612" cy="0"/>
          </a:xfrm>
          <a:prstGeom prst="straightConnector1">
            <a:avLst/>
          </a:prstGeom>
          <a:ln w="571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51213F30-4755-4E13-9CF1-CA9C0B77B260}"/>
              </a:ext>
            </a:extLst>
          </p:cNvPr>
          <p:cNvCxnSpPr>
            <a:cxnSpLocks/>
          </p:cNvCxnSpPr>
          <p:nvPr/>
        </p:nvCxnSpPr>
        <p:spPr>
          <a:xfrm flipH="1">
            <a:off x="5739115" y="3775566"/>
            <a:ext cx="804612" cy="0"/>
          </a:xfrm>
          <a:prstGeom prst="straightConnector1">
            <a:avLst/>
          </a:prstGeom>
          <a:ln w="571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BA9D9AA8-A1ED-48CF-8FEE-69C9DA935285}"/>
              </a:ext>
            </a:extLst>
          </p:cNvPr>
          <p:cNvCxnSpPr>
            <a:cxnSpLocks/>
          </p:cNvCxnSpPr>
          <p:nvPr/>
        </p:nvCxnSpPr>
        <p:spPr>
          <a:xfrm flipH="1">
            <a:off x="8857758" y="3775566"/>
            <a:ext cx="804612" cy="0"/>
          </a:xfrm>
          <a:prstGeom prst="straightConnector1">
            <a:avLst/>
          </a:prstGeom>
          <a:ln w="571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 68">
            <a:extLst>
              <a:ext uri="{FF2B5EF4-FFF2-40B4-BE49-F238E27FC236}">
                <a16:creationId xmlns:a16="http://schemas.microsoft.com/office/drawing/2014/main" id="{69FA525B-89D8-4AD7-9554-2994F8DD979E}"/>
              </a:ext>
            </a:extLst>
          </p:cNvPr>
          <p:cNvSpPr/>
          <p:nvPr/>
        </p:nvSpPr>
        <p:spPr>
          <a:xfrm>
            <a:off x="531545" y="5465669"/>
            <a:ext cx="1633526" cy="617005"/>
          </a:xfrm>
          <a:prstGeom prst="rect">
            <a:avLst/>
          </a:prstGeom>
          <a:solidFill>
            <a:schemeClr val="accent4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CO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mmetric</a:t>
            </a:r>
            <a:r>
              <a:rPr lang="es-CO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ors</a:t>
            </a:r>
            <a:endParaRPr lang="es-CO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997C4C1-0BC8-456A-B0C9-6444678C947D}"/>
              </a:ext>
            </a:extLst>
          </p:cNvPr>
          <p:cNvSpPr/>
          <p:nvPr/>
        </p:nvSpPr>
        <p:spPr>
          <a:xfrm>
            <a:off x="2274606" y="1863475"/>
            <a:ext cx="1389215" cy="446889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F0682D5-4784-4CC9-B110-BE88DC9AC626}"/>
              </a:ext>
            </a:extLst>
          </p:cNvPr>
          <p:cNvSpPr/>
          <p:nvPr/>
        </p:nvSpPr>
        <p:spPr>
          <a:xfrm>
            <a:off x="5401392" y="1864075"/>
            <a:ext cx="1389215" cy="446889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CO" sz="11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es-CO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Servici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162FF11-855C-45CA-A872-167FBAECC077}"/>
              </a:ext>
            </a:extLst>
          </p:cNvPr>
          <p:cNvSpPr/>
          <p:nvPr/>
        </p:nvSpPr>
        <p:spPr>
          <a:xfrm>
            <a:off x="8637408" y="1863475"/>
            <a:ext cx="1389215" cy="446889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1F1DE22-AC65-406B-B8ED-73EB0501FA02}"/>
              </a:ext>
            </a:extLst>
          </p:cNvPr>
          <p:cNvSpPr/>
          <p:nvPr/>
        </p:nvSpPr>
        <p:spPr>
          <a:xfrm>
            <a:off x="2340313" y="4641374"/>
            <a:ext cx="1389215" cy="446889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CO" sz="11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es-CO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Servici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9EA25AC-427B-4FDC-AD30-00F8245EE443}"/>
              </a:ext>
            </a:extLst>
          </p:cNvPr>
          <p:cNvSpPr/>
          <p:nvPr/>
        </p:nvSpPr>
        <p:spPr>
          <a:xfrm>
            <a:off x="5467122" y="4639714"/>
            <a:ext cx="1389215" cy="446889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1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6B91014-EE2D-4A28-A5C1-BD3104226CDF}"/>
              </a:ext>
            </a:extLst>
          </p:cNvPr>
          <p:cNvSpPr/>
          <p:nvPr/>
        </p:nvSpPr>
        <p:spPr>
          <a:xfrm>
            <a:off x="8637409" y="4639713"/>
            <a:ext cx="1389215" cy="446889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CO" sz="11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es-CO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Servici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E9F16F1-6CEF-456A-9509-342C491F668E}"/>
              </a:ext>
            </a:extLst>
          </p:cNvPr>
          <p:cNvGrpSpPr/>
          <p:nvPr/>
        </p:nvGrpSpPr>
        <p:grpSpPr>
          <a:xfrm>
            <a:off x="3636882" y="2489072"/>
            <a:ext cx="1932532" cy="1987804"/>
            <a:chOff x="3636882" y="2655000"/>
            <a:chExt cx="1932532" cy="1987804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B4031060-21FF-4C19-81B8-2AEAD2B36DE4}"/>
                </a:ext>
              </a:extLst>
            </p:cNvPr>
            <p:cNvSpPr/>
            <p:nvPr/>
          </p:nvSpPr>
          <p:spPr>
            <a:xfrm>
              <a:off x="3728267" y="2658425"/>
              <a:ext cx="1548000" cy="1548000"/>
            </a:xfrm>
            <a:prstGeom prst="ellipse">
              <a:avLst/>
            </a:prstGeom>
            <a:solidFill>
              <a:srgbClr val="EA3A55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O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A793C80-F0D4-47F7-B16D-05C1525F18DB}"/>
                </a:ext>
              </a:extLst>
            </p:cNvPr>
            <p:cNvSpPr/>
            <p:nvPr/>
          </p:nvSpPr>
          <p:spPr>
            <a:xfrm>
              <a:off x="3636882" y="4300610"/>
              <a:ext cx="1932532" cy="34219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s-MX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cer</a:t>
              </a:r>
              <a:endParaRPr lang="es-CO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Circle: Hollow 27">
              <a:extLst>
                <a:ext uri="{FF2B5EF4-FFF2-40B4-BE49-F238E27FC236}">
                  <a16:creationId xmlns:a16="http://schemas.microsoft.com/office/drawing/2014/main" id="{93E94B7B-9DBB-4FE3-BA5D-BB4381E46DA2}"/>
                </a:ext>
              </a:extLst>
            </p:cNvPr>
            <p:cNvSpPr/>
            <p:nvPr/>
          </p:nvSpPr>
          <p:spPr>
            <a:xfrm>
              <a:off x="3729528" y="2655000"/>
              <a:ext cx="1548000" cy="1548000"/>
            </a:xfrm>
            <a:prstGeom prst="donut">
              <a:avLst>
                <a:gd name="adj" fmla="val 10889"/>
              </a:avLst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O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9518297C-86EF-4EEE-940F-D7DA225B5A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96642" y="2982917"/>
              <a:ext cx="792000" cy="792000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2B394D8-2074-4FDF-93FB-B79F0D110AE8}"/>
              </a:ext>
            </a:extLst>
          </p:cNvPr>
          <p:cNvGrpSpPr/>
          <p:nvPr/>
        </p:nvGrpSpPr>
        <p:grpSpPr>
          <a:xfrm>
            <a:off x="531545" y="2489072"/>
            <a:ext cx="1932532" cy="1987804"/>
            <a:chOff x="531545" y="2655000"/>
            <a:chExt cx="1932532" cy="1987804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17ACE9F8-AD93-4B7C-9A7E-B210DA10F3B4}"/>
                </a:ext>
              </a:extLst>
            </p:cNvPr>
            <p:cNvSpPr/>
            <p:nvPr/>
          </p:nvSpPr>
          <p:spPr>
            <a:xfrm>
              <a:off x="682012" y="2655680"/>
              <a:ext cx="1548000" cy="1548000"/>
            </a:xfrm>
            <a:prstGeom prst="ellipse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O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FC87FAE6-7EB9-467E-B284-E954DC1A6E66}"/>
                </a:ext>
              </a:extLst>
            </p:cNvPr>
            <p:cNvSpPr/>
            <p:nvPr/>
          </p:nvSpPr>
          <p:spPr>
            <a:xfrm>
              <a:off x="531545" y="4300610"/>
              <a:ext cx="1932532" cy="34219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s-MX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riginator</a:t>
              </a:r>
              <a:endParaRPr lang="es-CO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Circle: Hollow 26">
              <a:extLst>
                <a:ext uri="{FF2B5EF4-FFF2-40B4-BE49-F238E27FC236}">
                  <a16:creationId xmlns:a16="http://schemas.microsoft.com/office/drawing/2014/main" id="{8EE85311-52E6-41AF-9B23-2142640F0AA7}"/>
                </a:ext>
              </a:extLst>
            </p:cNvPr>
            <p:cNvSpPr/>
            <p:nvPr/>
          </p:nvSpPr>
          <p:spPr>
            <a:xfrm>
              <a:off x="684595" y="2655000"/>
              <a:ext cx="1548000" cy="1548000"/>
            </a:xfrm>
            <a:prstGeom prst="donut">
              <a:avLst>
                <a:gd name="adj" fmla="val 10889"/>
              </a:avLst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O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B55C4487-0E89-421E-8952-CBAF047E491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6375" y="3018114"/>
              <a:ext cx="792000" cy="79200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805082C-A7A0-459A-B833-CC1B784C62A0}"/>
              </a:ext>
            </a:extLst>
          </p:cNvPr>
          <p:cNvGrpSpPr/>
          <p:nvPr/>
        </p:nvGrpSpPr>
        <p:grpSpPr>
          <a:xfrm>
            <a:off x="6742219" y="2489072"/>
            <a:ext cx="1932532" cy="1994004"/>
            <a:chOff x="6742219" y="2648800"/>
            <a:chExt cx="1932532" cy="1994004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D6F3FBD0-1D52-46EA-8727-2A28FAE763C5}"/>
                </a:ext>
              </a:extLst>
            </p:cNvPr>
            <p:cNvSpPr/>
            <p:nvPr/>
          </p:nvSpPr>
          <p:spPr>
            <a:xfrm>
              <a:off x="6903455" y="2655000"/>
              <a:ext cx="1548000" cy="1548000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O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7F94223-CFEA-4723-AA71-EC3756B12F1E}"/>
                </a:ext>
              </a:extLst>
            </p:cNvPr>
            <p:cNvSpPr/>
            <p:nvPr/>
          </p:nvSpPr>
          <p:spPr>
            <a:xfrm>
              <a:off x="6742219" y="4300610"/>
              <a:ext cx="1932532" cy="34219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s-MX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tributor</a:t>
              </a:r>
              <a:endParaRPr lang="es-CO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0DB28B86-A8E8-4457-ABCF-058A6594B85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17455" y="3043550"/>
              <a:ext cx="720000" cy="720000"/>
            </a:xfrm>
            <a:prstGeom prst="rect">
              <a:avLst/>
            </a:prstGeom>
          </p:spPr>
        </p:pic>
        <p:sp>
          <p:nvSpPr>
            <p:cNvPr id="43" name="Circle: Hollow 42">
              <a:extLst>
                <a:ext uri="{FF2B5EF4-FFF2-40B4-BE49-F238E27FC236}">
                  <a16:creationId xmlns:a16="http://schemas.microsoft.com/office/drawing/2014/main" id="{8C6B09BF-78B1-4154-873B-0CC328BB2FC2}"/>
                </a:ext>
              </a:extLst>
            </p:cNvPr>
            <p:cNvSpPr/>
            <p:nvPr/>
          </p:nvSpPr>
          <p:spPr>
            <a:xfrm>
              <a:off x="6890784" y="2648800"/>
              <a:ext cx="1548000" cy="1548000"/>
            </a:xfrm>
            <a:prstGeom prst="donut">
              <a:avLst>
                <a:gd name="adj" fmla="val 10889"/>
              </a:avLst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O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A67FDA5D-4060-425C-9BF4-1E6B206A4346}"/>
              </a:ext>
            </a:extLst>
          </p:cNvPr>
          <p:cNvGrpSpPr/>
          <p:nvPr/>
        </p:nvGrpSpPr>
        <p:grpSpPr>
          <a:xfrm>
            <a:off x="9890145" y="2489072"/>
            <a:ext cx="1932532" cy="1994004"/>
            <a:chOff x="9890145" y="2648800"/>
            <a:chExt cx="1932532" cy="1994004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DF500C71-E5B9-4C57-97F6-E79395FA113F}"/>
                </a:ext>
              </a:extLst>
            </p:cNvPr>
            <p:cNvSpPr/>
            <p:nvPr/>
          </p:nvSpPr>
          <p:spPr>
            <a:xfrm>
              <a:off x="9890145" y="4300610"/>
              <a:ext cx="1932532" cy="34219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s-MX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mer</a:t>
              </a:r>
              <a:endParaRPr lang="es-CO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87401773-4FAD-4CA4-8849-7744190C0A8D}"/>
                </a:ext>
              </a:extLst>
            </p:cNvPr>
            <p:cNvSpPr/>
            <p:nvPr/>
          </p:nvSpPr>
          <p:spPr>
            <a:xfrm>
              <a:off x="10040709" y="2655000"/>
              <a:ext cx="1548000" cy="1548000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O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01DA0F73-7754-46FE-AC8A-1B9FF65AF6A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18709" y="2992841"/>
              <a:ext cx="792000" cy="792000"/>
            </a:xfrm>
            <a:prstGeom prst="rect">
              <a:avLst/>
            </a:prstGeom>
          </p:spPr>
        </p:pic>
        <p:sp>
          <p:nvSpPr>
            <p:cNvPr id="54" name="Circle: Hollow 53">
              <a:extLst>
                <a:ext uri="{FF2B5EF4-FFF2-40B4-BE49-F238E27FC236}">
                  <a16:creationId xmlns:a16="http://schemas.microsoft.com/office/drawing/2014/main" id="{A0438F6F-4CD7-42C4-B5D6-1F3C1126FDDC}"/>
                </a:ext>
              </a:extLst>
            </p:cNvPr>
            <p:cNvSpPr/>
            <p:nvPr/>
          </p:nvSpPr>
          <p:spPr>
            <a:xfrm>
              <a:off x="10040296" y="2648800"/>
              <a:ext cx="1548000" cy="1548000"/>
            </a:xfrm>
            <a:prstGeom prst="donut">
              <a:avLst>
                <a:gd name="adj" fmla="val 10889"/>
              </a:avLst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O"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3A51A33E-7390-4B98-97C3-D9255696251D}"/>
              </a:ext>
            </a:extLst>
          </p:cNvPr>
          <p:cNvSpPr/>
          <p:nvPr/>
        </p:nvSpPr>
        <p:spPr>
          <a:xfrm>
            <a:off x="2242683" y="2884996"/>
            <a:ext cx="1439197" cy="40840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sz="1600" i="1" dirty="0" err="1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</a:t>
            </a:r>
            <a:r>
              <a:rPr lang="es-MX" sz="1600" i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change</a:t>
            </a:r>
          </a:p>
          <a:p>
            <a:pPr algn="ctr"/>
            <a:r>
              <a:rPr lang="es-MX" sz="1600" i="1" dirty="0" err="1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directional</a:t>
            </a:r>
            <a:endParaRPr lang="es-CO" sz="1200" i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Parallelogram 62">
            <a:extLst>
              <a:ext uri="{FF2B5EF4-FFF2-40B4-BE49-F238E27FC236}">
                <a16:creationId xmlns:a16="http://schemas.microsoft.com/office/drawing/2014/main" id="{CC75C216-9E8F-4296-AB88-926267BA27D3}"/>
              </a:ext>
            </a:extLst>
          </p:cNvPr>
          <p:cNvSpPr/>
          <p:nvPr/>
        </p:nvSpPr>
        <p:spPr>
          <a:xfrm>
            <a:off x="531545" y="1023787"/>
            <a:ext cx="1808768" cy="592243"/>
          </a:xfrm>
          <a:prstGeom prst="parallelogram">
            <a:avLst/>
          </a:prstGeom>
          <a:solidFill>
            <a:schemeClr val="accent4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MX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s-CO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mmetric</a:t>
            </a:r>
            <a:r>
              <a:rPr lang="es-CO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ors</a:t>
            </a:r>
            <a:endParaRPr lang="es-CO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Parallelogram 63">
            <a:extLst>
              <a:ext uri="{FF2B5EF4-FFF2-40B4-BE49-F238E27FC236}">
                <a16:creationId xmlns:a16="http://schemas.microsoft.com/office/drawing/2014/main" id="{1580F99F-2885-455D-A4D3-4B5B733CD9EC}"/>
              </a:ext>
            </a:extLst>
          </p:cNvPr>
          <p:cNvSpPr/>
          <p:nvPr/>
        </p:nvSpPr>
        <p:spPr>
          <a:xfrm>
            <a:off x="6788451" y="5464058"/>
            <a:ext cx="1808768" cy="592243"/>
          </a:xfrm>
          <a:prstGeom prst="parallelogram">
            <a:avLst/>
          </a:prstGeom>
          <a:solidFill>
            <a:schemeClr val="accent4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CO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mmetric</a:t>
            </a:r>
            <a:r>
              <a:rPr lang="es-CO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ors</a:t>
            </a:r>
            <a:endParaRPr lang="es-CO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Parallelogram 69">
            <a:extLst>
              <a:ext uri="{FF2B5EF4-FFF2-40B4-BE49-F238E27FC236}">
                <a16:creationId xmlns:a16="http://schemas.microsoft.com/office/drawing/2014/main" id="{8EA0815F-4CE9-476E-9839-822A94A577B4}"/>
              </a:ext>
            </a:extLst>
          </p:cNvPr>
          <p:cNvSpPr/>
          <p:nvPr/>
        </p:nvSpPr>
        <p:spPr>
          <a:xfrm>
            <a:off x="6903455" y="1023786"/>
            <a:ext cx="1808768" cy="592243"/>
          </a:xfrm>
          <a:prstGeom prst="parallelogram">
            <a:avLst/>
          </a:prstGeom>
          <a:solidFill>
            <a:schemeClr val="accent4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MX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s-CO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mmetric</a:t>
            </a:r>
            <a:r>
              <a:rPr lang="es-CO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ors</a:t>
            </a:r>
            <a:endParaRPr lang="es-CO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1C3B726-3015-41A0-B3CB-98F420759ACA}"/>
              </a:ext>
            </a:extLst>
          </p:cNvPr>
          <p:cNvSpPr/>
          <p:nvPr/>
        </p:nvSpPr>
        <p:spPr>
          <a:xfrm>
            <a:off x="3728267" y="5465669"/>
            <a:ext cx="1633526" cy="617005"/>
          </a:xfrm>
          <a:prstGeom prst="rect">
            <a:avLst/>
          </a:prstGeom>
          <a:solidFill>
            <a:schemeClr val="accent4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CO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mmetric</a:t>
            </a:r>
            <a:r>
              <a:rPr lang="es-CO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ors</a:t>
            </a:r>
            <a:endParaRPr lang="es-CO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E9FEABB7-D820-4C77-ABB7-4247A356988C}"/>
              </a:ext>
            </a:extLst>
          </p:cNvPr>
          <p:cNvSpPr/>
          <p:nvPr/>
        </p:nvSpPr>
        <p:spPr>
          <a:xfrm>
            <a:off x="3703521" y="1018927"/>
            <a:ext cx="1633526" cy="617005"/>
          </a:xfrm>
          <a:prstGeom prst="rect">
            <a:avLst/>
          </a:prstGeom>
          <a:solidFill>
            <a:schemeClr val="accent4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MX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s-CO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mmetric</a:t>
            </a:r>
            <a:r>
              <a:rPr lang="es-CO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1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ors</a:t>
            </a:r>
            <a:endParaRPr lang="es-CO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7368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6FE83AC4-C052-49C7-B409-A12A105CF3C5}"/>
              </a:ext>
            </a:extLst>
          </p:cNvPr>
          <p:cNvSpPr txBox="1"/>
          <p:nvPr/>
        </p:nvSpPr>
        <p:spPr>
          <a:xfrm>
            <a:off x="633680" y="228971"/>
            <a:ext cx="9915608" cy="4062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</a:t>
            </a:r>
            <a:r>
              <a:rPr lang="es-CO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es-CO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4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</a:t>
            </a:r>
            <a:r>
              <a:rPr lang="es-CO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4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s-CO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400" b="1" err="1">
                <a:solidFill>
                  <a:schemeClr val="accent4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ve</a:t>
            </a:r>
            <a:r>
              <a:rPr lang="es-CO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400" b="1" err="1">
                <a:solidFill>
                  <a:schemeClr val="accent4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</a:t>
            </a:r>
            <a:r>
              <a:rPr lang="es-CO" sz="2400" b="1">
                <a:solidFill>
                  <a:schemeClr val="accent4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400" b="1" err="1">
                <a:solidFill>
                  <a:schemeClr val="accent4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</a:t>
            </a:r>
            <a:r>
              <a:rPr lang="es-CO" sz="2400" b="1">
                <a:solidFill>
                  <a:schemeClr val="accent4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4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r>
              <a:rPr lang="es-CO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F1B7E-0958-4ED6-9413-88B4915CF8A8}"/>
              </a:ext>
            </a:extLst>
          </p:cNvPr>
          <p:cNvSpPr txBox="1"/>
          <p:nvPr/>
        </p:nvSpPr>
        <p:spPr>
          <a:xfrm>
            <a:off x="1037969" y="1422155"/>
            <a:ext cx="1049129" cy="90024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CO" sz="66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CD37BB6-74CD-4C39-B0B9-2B4CB7DFB18B}"/>
              </a:ext>
            </a:extLst>
          </p:cNvPr>
          <p:cNvSpPr/>
          <p:nvPr/>
        </p:nvSpPr>
        <p:spPr>
          <a:xfrm>
            <a:off x="1769488" y="1544727"/>
            <a:ext cx="3808800" cy="6552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MX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 </a:t>
            </a:r>
            <a:r>
              <a:rPr lang="es-MX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s-MX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MX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pe</a:t>
            </a:r>
            <a:endParaRPr lang="es-CO" sz="2000" b="1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EFB2BC4-DCD9-4BBE-85CD-6E874E708F7E}"/>
              </a:ext>
            </a:extLst>
          </p:cNvPr>
          <p:cNvSpPr txBox="1"/>
          <p:nvPr/>
        </p:nvSpPr>
        <p:spPr>
          <a:xfrm>
            <a:off x="1037969" y="2688130"/>
            <a:ext cx="1049129" cy="90024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MX" sz="6600">
                <a:solidFill>
                  <a:schemeClr val="bg1"/>
                </a:solidFill>
              </a:rPr>
              <a:t>2</a:t>
            </a:r>
            <a:endParaRPr lang="es-CO" sz="6600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69EE235-0DBC-44D2-94ED-C8F4110FB350}"/>
              </a:ext>
            </a:extLst>
          </p:cNvPr>
          <p:cNvSpPr/>
          <p:nvPr/>
        </p:nvSpPr>
        <p:spPr>
          <a:xfrm>
            <a:off x="1769488" y="2748954"/>
            <a:ext cx="3808800" cy="6552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 </a:t>
            </a:r>
            <a:r>
              <a:rPr lang="es-CO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nal </a:t>
            </a:r>
            <a:r>
              <a:rPr lang="es-CO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er</a:t>
            </a:r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4839896-5F20-416D-928A-E3E5FDDD7361}"/>
              </a:ext>
            </a:extLst>
          </p:cNvPr>
          <p:cNvSpPr txBox="1"/>
          <p:nvPr/>
        </p:nvSpPr>
        <p:spPr>
          <a:xfrm>
            <a:off x="1037969" y="3930327"/>
            <a:ext cx="1049129" cy="90024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MX" sz="6600">
                <a:solidFill>
                  <a:schemeClr val="bg1"/>
                </a:solidFill>
              </a:rPr>
              <a:t>3</a:t>
            </a:r>
            <a:endParaRPr lang="es-CO" sz="660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7EC3438-7ED4-4C69-8A4B-852B8DDF1240}"/>
              </a:ext>
            </a:extLst>
          </p:cNvPr>
          <p:cNvSpPr/>
          <p:nvPr/>
        </p:nvSpPr>
        <p:spPr>
          <a:xfrm>
            <a:off x="1769488" y="3953181"/>
            <a:ext cx="3808800" cy="6552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 </a:t>
            </a:r>
            <a:r>
              <a:rPr lang="es-CO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st</a:t>
            </a:r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m</a:t>
            </a:r>
            <a:endParaRPr lang="es-CO" sz="2000" b="1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5890EB9-29A6-4691-8005-D60FD4EF7625}"/>
              </a:ext>
            </a:extLst>
          </p:cNvPr>
          <p:cNvSpPr txBox="1"/>
          <p:nvPr/>
        </p:nvSpPr>
        <p:spPr>
          <a:xfrm>
            <a:off x="1037969" y="5131424"/>
            <a:ext cx="1049129" cy="90024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MX" sz="6600">
                <a:solidFill>
                  <a:schemeClr val="bg1"/>
                </a:solidFill>
              </a:rPr>
              <a:t>4</a:t>
            </a:r>
            <a:endParaRPr lang="es-CO" sz="6600">
              <a:solidFill>
                <a:schemeClr val="bg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51703E3-B9BB-4E36-A862-6C0BB3A89A3A}"/>
              </a:ext>
            </a:extLst>
          </p:cNvPr>
          <p:cNvSpPr/>
          <p:nvPr/>
        </p:nvSpPr>
        <p:spPr>
          <a:xfrm>
            <a:off x="1769488" y="5157409"/>
            <a:ext cx="3808800" cy="6552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MX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s-CO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ine</a:t>
            </a:r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ior </a:t>
            </a:r>
            <a:r>
              <a:rPr lang="es-CO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ms</a:t>
            </a:r>
            <a:endParaRPr lang="es-CO" sz="2000" b="1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FE336D5-37D7-4FDC-BBD0-5EC048C761AE}"/>
              </a:ext>
            </a:extLst>
          </p:cNvPr>
          <p:cNvSpPr txBox="1"/>
          <p:nvPr/>
        </p:nvSpPr>
        <p:spPr>
          <a:xfrm>
            <a:off x="6354007" y="1422155"/>
            <a:ext cx="1049129" cy="90024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MX" sz="6600">
                <a:solidFill>
                  <a:schemeClr val="bg1"/>
                </a:solidFill>
              </a:rPr>
              <a:t>5</a:t>
            </a:r>
            <a:endParaRPr lang="es-CO" sz="6600">
              <a:solidFill>
                <a:schemeClr val="bg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8EC7502-E2FD-4CBE-B2B0-E4E952F1E748}"/>
              </a:ext>
            </a:extLst>
          </p:cNvPr>
          <p:cNvSpPr/>
          <p:nvPr/>
        </p:nvSpPr>
        <p:spPr>
          <a:xfrm>
            <a:off x="7216726" y="1544727"/>
            <a:ext cx="3806873" cy="6551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 </a:t>
            </a:r>
            <a:r>
              <a:rPr lang="es-CO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cal </a:t>
            </a:r>
            <a:r>
              <a:rPr lang="es-CO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m</a:t>
            </a:r>
            <a:endParaRPr lang="es-CO" sz="2000" b="1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52AE109-AFDD-4EB5-AD12-9D4498E2996C}"/>
              </a:ext>
            </a:extLst>
          </p:cNvPr>
          <p:cNvSpPr txBox="1"/>
          <p:nvPr/>
        </p:nvSpPr>
        <p:spPr>
          <a:xfrm>
            <a:off x="6309807" y="2688130"/>
            <a:ext cx="1049129" cy="90024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MX" sz="6600">
                <a:solidFill>
                  <a:schemeClr val="bg1"/>
                </a:solidFill>
              </a:rPr>
              <a:t>6</a:t>
            </a:r>
            <a:endParaRPr lang="es-CO" sz="6600">
              <a:solidFill>
                <a:schemeClr val="bg1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F368A0A7-B076-492D-AECD-CCE8197E6EA9}"/>
              </a:ext>
            </a:extLst>
          </p:cNvPr>
          <p:cNvSpPr/>
          <p:nvPr/>
        </p:nvSpPr>
        <p:spPr>
          <a:xfrm>
            <a:off x="7216726" y="2748954"/>
            <a:ext cx="3806873" cy="6551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 </a:t>
            </a:r>
            <a:r>
              <a:rPr lang="es-CO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</a:t>
            </a:r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hange</a:t>
            </a:r>
            <a:endParaRPr lang="es-CO" sz="2000" b="1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C8C14D0-5036-4C51-AAD2-571D70541CFB}"/>
              </a:ext>
            </a:extLst>
          </p:cNvPr>
          <p:cNvSpPr txBox="1"/>
          <p:nvPr/>
        </p:nvSpPr>
        <p:spPr>
          <a:xfrm>
            <a:off x="6354007" y="3933224"/>
            <a:ext cx="1049129" cy="90024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MX" sz="6600">
                <a:solidFill>
                  <a:schemeClr val="bg1"/>
                </a:solidFill>
              </a:rPr>
              <a:t>7</a:t>
            </a:r>
            <a:endParaRPr lang="es-CO" sz="660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7027924-A9B3-4317-BB4A-A4B47F31E5CA}"/>
              </a:ext>
            </a:extLst>
          </p:cNvPr>
          <p:cNvSpPr/>
          <p:nvPr/>
        </p:nvSpPr>
        <p:spPr>
          <a:xfrm>
            <a:off x="7216726" y="3953181"/>
            <a:ext cx="3806873" cy="6551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 </a:t>
            </a:r>
            <a:r>
              <a:rPr lang="es-CO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mmetric</a:t>
            </a:r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dors</a:t>
            </a:r>
            <a:endParaRPr lang="es-CO" sz="2000" b="1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853AB7B-E215-4E55-9784-13F564ABAA68}"/>
              </a:ext>
            </a:extLst>
          </p:cNvPr>
          <p:cNvSpPr txBox="1"/>
          <p:nvPr/>
        </p:nvSpPr>
        <p:spPr>
          <a:xfrm>
            <a:off x="6354007" y="5131424"/>
            <a:ext cx="1049129" cy="90024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MX" sz="6600">
                <a:solidFill>
                  <a:schemeClr val="bg1"/>
                </a:solidFill>
              </a:rPr>
              <a:t>8</a:t>
            </a:r>
            <a:endParaRPr lang="es-CO" sz="660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54A590E-9CE0-42CF-BE18-EB07F6079231}"/>
              </a:ext>
            </a:extLst>
          </p:cNvPr>
          <p:cNvSpPr/>
          <p:nvPr/>
        </p:nvSpPr>
        <p:spPr>
          <a:xfrm>
            <a:off x="7216726" y="5157506"/>
            <a:ext cx="3806873" cy="6551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 </a:t>
            </a:r>
            <a:r>
              <a:rPr lang="es-CO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ymmetric</a:t>
            </a:r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ors</a:t>
            </a:r>
            <a:r>
              <a:rPr lang="es-CO" sz="2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AB146A3-1D76-4518-9C52-4E46BB5178C6}"/>
              </a:ext>
            </a:extLst>
          </p:cNvPr>
          <p:cNvSpPr txBox="1"/>
          <p:nvPr/>
        </p:nvSpPr>
        <p:spPr>
          <a:xfrm>
            <a:off x="633680" y="865029"/>
            <a:ext cx="9915608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CO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t</a:t>
            </a:r>
            <a:r>
              <a:rPr lang="es-CO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get</a:t>
            </a:r>
            <a:r>
              <a:rPr lang="es-CO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s-CO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ing</a:t>
            </a:r>
            <a:r>
              <a:rPr lang="es-CO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ep </a:t>
            </a:r>
            <a:r>
              <a:rPr lang="es-CO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es-CO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ct</a:t>
            </a:r>
            <a:r>
              <a:rPr lang="es-CO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s-CO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ve</a:t>
            </a:r>
            <a:r>
              <a:rPr lang="es-CO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</a:t>
            </a:r>
            <a:r>
              <a:rPr lang="es-CO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</a:t>
            </a:r>
            <a:r>
              <a:rPr lang="es-CO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es-CO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61255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6FE83AC4-C052-49C7-B409-A12A105CF3C5}"/>
              </a:ext>
            </a:extLst>
          </p:cNvPr>
          <p:cNvSpPr txBox="1"/>
          <p:nvPr/>
        </p:nvSpPr>
        <p:spPr>
          <a:xfrm>
            <a:off x="633680" y="228971"/>
            <a:ext cx="9915608" cy="4062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CO" sz="2400" b="1" dirty="0" err="1">
                <a:solidFill>
                  <a:schemeClr val="accent4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</a:t>
            </a:r>
            <a:endParaRPr lang="es-CO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49A5BD4-7010-4C71-953C-B5907F5EA51C}"/>
              </a:ext>
            </a:extLst>
          </p:cNvPr>
          <p:cNvSpPr/>
          <p:nvPr/>
        </p:nvSpPr>
        <p:spPr>
          <a:xfrm>
            <a:off x="472238" y="990024"/>
            <a:ext cx="6670034" cy="5375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sz="14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ve</a:t>
            </a:r>
            <a:r>
              <a:rPr lang="es-MX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MX" sz="14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</a:t>
            </a:r>
            <a:r>
              <a:rPr lang="es-MX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ain </a:t>
            </a:r>
            <a:r>
              <a:rPr lang="es-MX" sz="14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es-MX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MX" sz="1400" b="1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s-MX" sz="14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ducto HBO Max</a:t>
            </a:r>
            <a:endParaRPr lang="es-CO" sz="14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FE22A7F-12CC-492A-AA03-4F413F79AE8F}"/>
              </a:ext>
            </a:extLst>
          </p:cNvPr>
          <p:cNvSpPr/>
          <p:nvPr/>
        </p:nvSpPr>
        <p:spPr>
          <a:xfrm>
            <a:off x="7293934" y="3910573"/>
            <a:ext cx="1330203" cy="127036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MX" sz="1200">
              <a:solidFill>
                <a:schemeClr val="tx1"/>
              </a:solidFill>
            </a:endParaRPr>
          </a:p>
          <a:p>
            <a:pPr algn="ctr"/>
            <a:endParaRPr lang="es-MX" sz="1200">
              <a:solidFill>
                <a:schemeClr val="tx1"/>
              </a:solidFill>
            </a:endParaRPr>
          </a:p>
          <a:p>
            <a:pPr algn="ctr"/>
            <a:r>
              <a:rPr lang="es-MX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ro</a:t>
            </a:r>
            <a:endParaRPr lang="es-CO" sz="14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649A53F8-AE73-4F8F-ABDB-F177E388C834}"/>
              </a:ext>
            </a:extLst>
          </p:cNvPr>
          <p:cNvCxnSpPr>
            <a:cxnSpLocks/>
          </p:cNvCxnSpPr>
          <p:nvPr/>
        </p:nvCxnSpPr>
        <p:spPr>
          <a:xfrm>
            <a:off x="9011513" y="4318752"/>
            <a:ext cx="838174" cy="0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57F94223-CFEA-4723-AA71-EC3756B12F1E}"/>
              </a:ext>
            </a:extLst>
          </p:cNvPr>
          <p:cNvSpPr/>
          <p:nvPr/>
        </p:nvSpPr>
        <p:spPr>
          <a:xfrm>
            <a:off x="7011728" y="5364535"/>
            <a:ext cx="1932532" cy="34219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Distributor</a:t>
            </a:r>
            <a:endParaRPr lang="es-CO" sz="1400" b="1" dirty="0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B3F793C-19F0-4F0A-9DE1-351DAB0FFA9E}"/>
              </a:ext>
            </a:extLst>
          </p:cNvPr>
          <p:cNvSpPr/>
          <p:nvPr/>
        </p:nvSpPr>
        <p:spPr>
          <a:xfrm>
            <a:off x="4207556" y="3910573"/>
            <a:ext cx="1330203" cy="127036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MX" sz="1200">
              <a:solidFill>
                <a:schemeClr val="tx1"/>
              </a:solidFill>
            </a:endParaRPr>
          </a:p>
          <a:p>
            <a:pPr algn="ctr"/>
            <a:endParaRPr lang="es-MX" sz="1200">
              <a:solidFill>
                <a:schemeClr val="tx1"/>
              </a:solidFill>
            </a:endParaRPr>
          </a:p>
          <a:p>
            <a:pPr algn="ctr"/>
            <a:r>
              <a:rPr lang="es-MX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BO</a:t>
            </a:r>
            <a:endParaRPr lang="es-CO" sz="14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A793C80-F0D4-47F7-B16D-05C1525F18DB}"/>
              </a:ext>
            </a:extLst>
          </p:cNvPr>
          <p:cNvSpPr/>
          <p:nvPr/>
        </p:nvSpPr>
        <p:spPr>
          <a:xfrm>
            <a:off x="3906391" y="5364535"/>
            <a:ext cx="1932532" cy="34219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Producer</a:t>
            </a:r>
            <a:endParaRPr lang="es-CO" sz="1400" b="1" dirty="0">
              <a:solidFill>
                <a:schemeClr val="bg1"/>
              </a:solidFill>
            </a:endParaRP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724DDCCD-15BA-489D-AD68-C488A9FF3F30}"/>
              </a:ext>
            </a:extLst>
          </p:cNvPr>
          <p:cNvCxnSpPr>
            <a:cxnSpLocks/>
          </p:cNvCxnSpPr>
          <p:nvPr/>
        </p:nvCxnSpPr>
        <p:spPr>
          <a:xfrm>
            <a:off x="6077802" y="4318752"/>
            <a:ext cx="838174" cy="0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94C2AD74-9FD9-4EF4-9AEB-40FD8D160096}"/>
              </a:ext>
            </a:extLst>
          </p:cNvPr>
          <p:cNvSpPr/>
          <p:nvPr/>
        </p:nvSpPr>
        <p:spPr>
          <a:xfrm>
            <a:off x="1102219" y="3910573"/>
            <a:ext cx="1330203" cy="127036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MX" sz="1200">
              <a:solidFill>
                <a:schemeClr val="tx1"/>
              </a:solidFill>
            </a:endParaRPr>
          </a:p>
          <a:p>
            <a:pPr algn="ctr"/>
            <a:r>
              <a:rPr lang="es-MX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vid Crane, Sam Levinson</a:t>
            </a:r>
            <a:endParaRPr lang="es-CO" sz="14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C87FAE6-7EB9-467E-B284-E954DC1A6E66}"/>
              </a:ext>
            </a:extLst>
          </p:cNvPr>
          <p:cNvSpPr/>
          <p:nvPr/>
        </p:nvSpPr>
        <p:spPr>
          <a:xfrm>
            <a:off x="801054" y="5364535"/>
            <a:ext cx="1932532" cy="34219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b="1" dirty="0" err="1">
                <a:solidFill>
                  <a:schemeClr val="bg1"/>
                </a:solidFill>
              </a:rPr>
              <a:t>Originator</a:t>
            </a:r>
            <a:endParaRPr lang="es-CO" sz="1400" b="1" dirty="0">
              <a:solidFill>
                <a:schemeClr val="bg1"/>
              </a:solidFill>
            </a:endParaRP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4B9A0505-4FAE-48D9-9725-67E4CB760D91}"/>
              </a:ext>
            </a:extLst>
          </p:cNvPr>
          <p:cNvCxnSpPr>
            <a:cxnSpLocks/>
          </p:cNvCxnSpPr>
          <p:nvPr/>
        </p:nvCxnSpPr>
        <p:spPr>
          <a:xfrm>
            <a:off x="2807867" y="4209891"/>
            <a:ext cx="838174" cy="0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Frame 53">
            <a:extLst>
              <a:ext uri="{FF2B5EF4-FFF2-40B4-BE49-F238E27FC236}">
                <a16:creationId xmlns:a16="http://schemas.microsoft.com/office/drawing/2014/main" id="{792CF563-D185-4D90-8B65-E97496548762}"/>
              </a:ext>
            </a:extLst>
          </p:cNvPr>
          <p:cNvSpPr/>
          <p:nvPr/>
        </p:nvSpPr>
        <p:spPr>
          <a:xfrm>
            <a:off x="4071207" y="3826905"/>
            <a:ext cx="1633526" cy="1486656"/>
          </a:xfrm>
          <a:prstGeom prst="frame">
            <a:avLst/>
          </a:prstGeom>
          <a:solidFill>
            <a:srgbClr val="0070C0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200">
              <a:solidFill>
                <a:schemeClr val="tx1"/>
              </a:solidFill>
            </a:endParaRP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1632C23-DC8B-4C33-9D58-EDE169E5DB49}"/>
              </a:ext>
            </a:extLst>
          </p:cNvPr>
          <p:cNvCxnSpPr>
            <a:cxnSpLocks/>
          </p:cNvCxnSpPr>
          <p:nvPr/>
        </p:nvCxnSpPr>
        <p:spPr>
          <a:xfrm flipH="1">
            <a:off x="2807868" y="4901137"/>
            <a:ext cx="804612" cy="0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51213F30-4755-4E13-9CF1-CA9C0B77B260}"/>
              </a:ext>
            </a:extLst>
          </p:cNvPr>
          <p:cNvCxnSpPr>
            <a:cxnSpLocks/>
          </p:cNvCxnSpPr>
          <p:nvPr/>
        </p:nvCxnSpPr>
        <p:spPr>
          <a:xfrm flipH="1">
            <a:off x="6111364" y="4901137"/>
            <a:ext cx="804612" cy="0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BA9D9AA8-A1ED-48CF-8FEE-69C9DA935285}"/>
              </a:ext>
            </a:extLst>
          </p:cNvPr>
          <p:cNvCxnSpPr>
            <a:cxnSpLocks/>
          </p:cNvCxnSpPr>
          <p:nvPr/>
        </p:nvCxnSpPr>
        <p:spPr>
          <a:xfrm flipH="1">
            <a:off x="9045075" y="4901137"/>
            <a:ext cx="804612" cy="0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61503964-2615-4032-8EB8-20AEF2140E3F}"/>
              </a:ext>
            </a:extLst>
          </p:cNvPr>
          <p:cNvSpPr/>
          <p:nvPr/>
        </p:nvSpPr>
        <p:spPr>
          <a:xfrm>
            <a:off x="8593903" y="5041079"/>
            <a:ext cx="1932532" cy="5375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sz="1400" dirty="0">
                <a:solidFill>
                  <a:schemeClr val="bg1"/>
                </a:solidFill>
              </a:rPr>
              <a:t>Data: </a:t>
            </a:r>
            <a:r>
              <a:rPr lang="es-MX" sz="1400" dirty="0" err="1">
                <a:solidFill>
                  <a:schemeClr val="bg1"/>
                </a:solidFill>
              </a:rPr>
              <a:t>preferences</a:t>
            </a:r>
            <a:r>
              <a:rPr lang="es-MX" sz="1400" dirty="0">
                <a:solidFill>
                  <a:schemeClr val="bg1"/>
                </a:solidFill>
              </a:rPr>
              <a:t> </a:t>
            </a:r>
            <a:r>
              <a:rPr lang="es-MX" sz="1400" dirty="0" err="1">
                <a:solidFill>
                  <a:schemeClr val="bg1"/>
                </a:solidFill>
              </a:rPr>
              <a:t>of</a:t>
            </a:r>
            <a:r>
              <a:rPr lang="es-MX" sz="1400" dirty="0">
                <a:solidFill>
                  <a:schemeClr val="bg1"/>
                </a:solidFill>
              </a:rPr>
              <a:t> </a:t>
            </a:r>
            <a:r>
              <a:rPr lang="es-MX" sz="1400" dirty="0" err="1">
                <a:solidFill>
                  <a:schemeClr val="bg1"/>
                </a:solidFill>
              </a:rPr>
              <a:t>the</a:t>
            </a:r>
            <a:r>
              <a:rPr lang="es-MX" sz="1400" dirty="0">
                <a:solidFill>
                  <a:schemeClr val="bg1"/>
                </a:solidFill>
              </a:rPr>
              <a:t> </a:t>
            </a:r>
            <a:r>
              <a:rPr lang="es-MX" sz="1400" dirty="0" err="1">
                <a:solidFill>
                  <a:schemeClr val="bg1"/>
                </a:solidFill>
              </a:rPr>
              <a:t>consumer</a:t>
            </a:r>
            <a:endParaRPr lang="es-CO" sz="1100" dirty="0">
              <a:solidFill>
                <a:schemeClr val="bg1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E56B3A5A-5A76-4863-9FAB-88E1A42BD66A}"/>
              </a:ext>
            </a:extLst>
          </p:cNvPr>
          <p:cNvSpPr/>
          <p:nvPr/>
        </p:nvSpPr>
        <p:spPr>
          <a:xfrm>
            <a:off x="8544916" y="3575906"/>
            <a:ext cx="1932532" cy="5375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sz="1400" dirty="0">
                <a:solidFill>
                  <a:schemeClr val="bg1"/>
                </a:solidFill>
              </a:rPr>
              <a:t>Cable televisión </a:t>
            </a:r>
            <a:r>
              <a:rPr lang="es-MX" sz="1400" dirty="0" err="1">
                <a:solidFill>
                  <a:schemeClr val="bg1"/>
                </a:solidFill>
              </a:rPr>
              <a:t>services</a:t>
            </a:r>
            <a:endParaRPr lang="es-CO" sz="1100" dirty="0">
              <a:solidFill>
                <a:schemeClr val="bg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44B73FA-24CF-49BC-9DB5-0C688BE4DC63}"/>
              </a:ext>
            </a:extLst>
          </p:cNvPr>
          <p:cNvSpPr/>
          <p:nvPr/>
        </p:nvSpPr>
        <p:spPr>
          <a:xfrm>
            <a:off x="5608792" y="3580671"/>
            <a:ext cx="1932532" cy="4468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sz="1400" dirty="0" err="1">
                <a:solidFill>
                  <a:schemeClr val="bg1"/>
                </a:solidFill>
              </a:rPr>
              <a:t>Entretainment</a:t>
            </a:r>
            <a:r>
              <a:rPr lang="es-MX" sz="1400" dirty="0">
                <a:solidFill>
                  <a:schemeClr val="bg1"/>
                </a:solidFill>
              </a:rPr>
              <a:t> </a:t>
            </a:r>
            <a:r>
              <a:rPr lang="es-MX" sz="1400" dirty="0" err="1">
                <a:solidFill>
                  <a:schemeClr val="bg1"/>
                </a:solidFill>
              </a:rPr>
              <a:t>catalog</a:t>
            </a:r>
            <a:endParaRPr lang="es-CO" sz="1100" dirty="0">
              <a:solidFill>
                <a:schemeClr val="bg1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70E30F8-68A1-41D5-8E96-518A8BFCB681}"/>
              </a:ext>
            </a:extLst>
          </p:cNvPr>
          <p:cNvSpPr/>
          <p:nvPr/>
        </p:nvSpPr>
        <p:spPr>
          <a:xfrm>
            <a:off x="2243908" y="3619501"/>
            <a:ext cx="1932532" cy="4468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sz="1400" dirty="0">
                <a:solidFill>
                  <a:schemeClr val="bg1"/>
                </a:solidFill>
              </a:rPr>
              <a:t>Series, </a:t>
            </a:r>
            <a:r>
              <a:rPr lang="es-MX" sz="1400" dirty="0" err="1">
                <a:solidFill>
                  <a:schemeClr val="bg1"/>
                </a:solidFill>
              </a:rPr>
              <a:t>movies</a:t>
            </a:r>
            <a:r>
              <a:rPr lang="es-MX" sz="1400" dirty="0">
                <a:solidFill>
                  <a:schemeClr val="bg1"/>
                </a:solidFill>
              </a:rPr>
              <a:t> and </a:t>
            </a:r>
            <a:r>
              <a:rPr lang="es-MX" sz="1400" dirty="0" err="1">
                <a:solidFill>
                  <a:schemeClr val="bg1"/>
                </a:solidFill>
              </a:rPr>
              <a:t>premiere</a:t>
            </a:r>
            <a:endParaRPr lang="es-CO" sz="1100" dirty="0">
              <a:solidFill>
                <a:schemeClr val="bg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3F4A4143-8722-43E0-81B3-A41208B4876E}"/>
              </a:ext>
            </a:extLst>
          </p:cNvPr>
          <p:cNvSpPr/>
          <p:nvPr/>
        </p:nvSpPr>
        <p:spPr>
          <a:xfrm>
            <a:off x="2200488" y="5126557"/>
            <a:ext cx="1932532" cy="4468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sz="1400" dirty="0">
                <a:solidFill>
                  <a:schemeClr val="bg1"/>
                </a:solidFill>
              </a:rPr>
              <a:t>Royalties </a:t>
            </a:r>
            <a:r>
              <a:rPr lang="es-MX" sz="1400" dirty="0" err="1">
                <a:solidFill>
                  <a:schemeClr val="bg1"/>
                </a:solidFill>
              </a:rPr>
              <a:t>to</a:t>
            </a:r>
            <a:r>
              <a:rPr lang="es-MX" sz="1400" dirty="0">
                <a:solidFill>
                  <a:schemeClr val="bg1"/>
                </a:solidFill>
              </a:rPr>
              <a:t> </a:t>
            </a:r>
            <a:r>
              <a:rPr lang="es-MX" sz="1400" dirty="0" err="1">
                <a:solidFill>
                  <a:schemeClr val="bg1"/>
                </a:solidFill>
              </a:rPr>
              <a:t>artists</a:t>
            </a:r>
            <a:endParaRPr lang="es-CO" sz="1100" dirty="0">
              <a:solidFill>
                <a:schemeClr val="bg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1970141-0A56-48F4-B2A6-696366A542FA}"/>
              </a:ext>
            </a:extLst>
          </p:cNvPr>
          <p:cNvSpPr/>
          <p:nvPr/>
        </p:nvSpPr>
        <p:spPr>
          <a:xfrm>
            <a:off x="5537666" y="5041079"/>
            <a:ext cx="1805852" cy="5048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sz="1400" dirty="0">
                <a:solidFill>
                  <a:schemeClr val="bg1"/>
                </a:solidFill>
              </a:rPr>
              <a:t>Money </a:t>
            </a:r>
            <a:r>
              <a:rPr lang="es-MX" sz="1400" dirty="0" err="1">
                <a:solidFill>
                  <a:schemeClr val="bg1"/>
                </a:solidFill>
              </a:rPr>
              <a:t>for</a:t>
            </a:r>
            <a:r>
              <a:rPr lang="es-MX" sz="1400" dirty="0">
                <a:solidFill>
                  <a:schemeClr val="bg1"/>
                </a:solidFill>
              </a:rPr>
              <a:t> </a:t>
            </a:r>
            <a:r>
              <a:rPr lang="es-MX" sz="1400" dirty="0" err="1">
                <a:solidFill>
                  <a:schemeClr val="bg1"/>
                </a:solidFill>
              </a:rPr>
              <a:t>subscription</a:t>
            </a:r>
            <a:endParaRPr lang="es-MX" sz="1400" dirty="0">
              <a:solidFill>
                <a:schemeClr val="bg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8B600EF-9AEF-43ED-8614-D7816A820CF0}"/>
              </a:ext>
            </a:extLst>
          </p:cNvPr>
          <p:cNvSpPr/>
          <p:nvPr/>
        </p:nvSpPr>
        <p:spPr>
          <a:xfrm>
            <a:off x="4071207" y="5890129"/>
            <a:ext cx="1633526" cy="82281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sz="16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</a:t>
            </a:r>
            <a:r>
              <a:rPr lang="es-MX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ble </a:t>
            </a:r>
            <a:r>
              <a:rPr lang="es-MX" sz="16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vision</a:t>
            </a:r>
            <a:r>
              <a:rPr lang="es-MX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MX" sz="16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r</a:t>
            </a:r>
            <a:endParaRPr lang="es-CO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8A667E3-025E-4E5E-A1CA-1B368541F629}"/>
              </a:ext>
            </a:extLst>
          </p:cNvPr>
          <p:cNvSpPr/>
          <p:nvPr/>
        </p:nvSpPr>
        <p:spPr>
          <a:xfrm>
            <a:off x="7142272" y="5992491"/>
            <a:ext cx="1633526" cy="61700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vistar, ETB, Tigo</a:t>
            </a:r>
            <a:endParaRPr lang="es-CO" sz="14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69FA525B-89D8-4AD7-9554-2994F8DD979E}"/>
              </a:ext>
            </a:extLst>
          </p:cNvPr>
          <p:cNvSpPr/>
          <p:nvPr/>
        </p:nvSpPr>
        <p:spPr>
          <a:xfrm>
            <a:off x="950557" y="5939116"/>
            <a:ext cx="1633526" cy="61700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sz="16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pendent</a:t>
            </a:r>
            <a:r>
              <a:rPr lang="es-MX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MX" sz="16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rs</a:t>
            </a:r>
            <a:endParaRPr lang="es-CO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Parallelogram 1">
            <a:extLst>
              <a:ext uri="{FF2B5EF4-FFF2-40B4-BE49-F238E27FC236}">
                <a16:creationId xmlns:a16="http://schemas.microsoft.com/office/drawing/2014/main" id="{2235ACAA-5110-450A-9274-D26A736325D2}"/>
              </a:ext>
            </a:extLst>
          </p:cNvPr>
          <p:cNvSpPr/>
          <p:nvPr/>
        </p:nvSpPr>
        <p:spPr>
          <a:xfrm>
            <a:off x="7273393" y="2898431"/>
            <a:ext cx="1633526" cy="446889"/>
          </a:xfrm>
          <a:prstGeom prst="parallelogram">
            <a:avLst/>
          </a:prstGeom>
          <a:solidFill>
            <a:srgbClr val="A2D1F5"/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sz="1600" b="1">
                <a:solidFill>
                  <a:schemeClr val="tx1"/>
                </a:solidFill>
              </a:rPr>
              <a:t>Netflix</a:t>
            </a:r>
            <a:endParaRPr lang="es-CO" sz="1200" b="1">
              <a:solidFill>
                <a:schemeClr val="tx1"/>
              </a:solidFill>
            </a:endParaRPr>
          </a:p>
        </p:txBody>
      </p:sp>
      <p:cxnSp>
        <p:nvCxnSpPr>
          <p:cNvPr id="4" name="Connector: Curved 3">
            <a:extLst>
              <a:ext uri="{FF2B5EF4-FFF2-40B4-BE49-F238E27FC236}">
                <a16:creationId xmlns:a16="http://schemas.microsoft.com/office/drawing/2014/main" id="{27D13B18-A93C-455E-BAD4-16E9C91B3CAE}"/>
              </a:ext>
            </a:extLst>
          </p:cNvPr>
          <p:cNvCxnSpPr>
            <a:cxnSpLocks/>
            <a:stCxn id="54" idx="0"/>
          </p:cNvCxnSpPr>
          <p:nvPr/>
        </p:nvCxnSpPr>
        <p:spPr>
          <a:xfrm rot="16200000" flipH="1">
            <a:off x="7941218" y="773657"/>
            <a:ext cx="83668" cy="6190164"/>
          </a:xfrm>
          <a:prstGeom prst="curvedConnector3">
            <a:avLst>
              <a:gd name="adj1" fmla="val -1717400"/>
            </a:avLst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241103EB-7515-4138-88F4-F6506D0A4C08}"/>
              </a:ext>
            </a:extLst>
          </p:cNvPr>
          <p:cNvSpPr/>
          <p:nvPr/>
        </p:nvSpPr>
        <p:spPr>
          <a:xfrm>
            <a:off x="6859896" y="1764306"/>
            <a:ext cx="1932532" cy="4468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sz="1400">
                <a:solidFill>
                  <a:schemeClr val="bg1"/>
                </a:solidFill>
              </a:rPr>
              <a:t>HBO Max(Servicio Directo)</a:t>
            </a:r>
            <a:endParaRPr lang="es-CO" sz="1100">
              <a:solidFill>
                <a:schemeClr val="bg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E5787A3-0ADA-4D59-A745-AB551280E4B4}"/>
              </a:ext>
            </a:extLst>
          </p:cNvPr>
          <p:cNvSpPr/>
          <p:nvPr/>
        </p:nvSpPr>
        <p:spPr>
          <a:xfrm>
            <a:off x="10265189" y="3888802"/>
            <a:ext cx="1636768" cy="1270364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s-MX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vision</a:t>
            </a:r>
            <a:r>
              <a:rPr lang="es-MX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MX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ence</a:t>
            </a:r>
            <a:endParaRPr lang="es-CO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E39A52B-9408-41F4-AC4C-CEBC389D42F9}"/>
              </a:ext>
            </a:extLst>
          </p:cNvPr>
          <p:cNvSpPr/>
          <p:nvPr/>
        </p:nvSpPr>
        <p:spPr>
          <a:xfrm>
            <a:off x="10083728" y="5228467"/>
            <a:ext cx="1932532" cy="34219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b="1" dirty="0" err="1">
                <a:solidFill>
                  <a:schemeClr val="bg1"/>
                </a:solidFill>
              </a:rPr>
              <a:t>Consumer</a:t>
            </a:r>
            <a:endParaRPr lang="es-CO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60924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6FE83AC4-C052-49C7-B409-A12A105CF3C5}"/>
              </a:ext>
            </a:extLst>
          </p:cNvPr>
          <p:cNvSpPr txBox="1"/>
          <p:nvPr/>
        </p:nvSpPr>
        <p:spPr>
          <a:xfrm>
            <a:off x="633680" y="228971"/>
            <a:ext cx="9915608" cy="4062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CO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ve</a:t>
            </a:r>
            <a:r>
              <a:rPr lang="es-CO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</a:t>
            </a:r>
            <a:r>
              <a:rPr lang="es-CO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ain </a:t>
            </a:r>
            <a:r>
              <a:rPr lang="es-CO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te</a:t>
            </a:r>
            <a:endParaRPr lang="es-CO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FE22A7F-12CC-492A-AA03-4F413F79AE8F}"/>
              </a:ext>
            </a:extLst>
          </p:cNvPr>
          <p:cNvSpPr/>
          <p:nvPr/>
        </p:nvSpPr>
        <p:spPr>
          <a:xfrm>
            <a:off x="7293934" y="2846648"/>
            <a:ext cx="1330203" cy="127036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MX" sz="1200">
              <a:solidFill>
                <a:schemeClr val="tx1"/>
              </a:solidFill>
            </a:endParaRPr>
          </a:p>
          <a:p>
            <a:pPr algn="ctr"/>
            <a:endParaRPr lang="es-MX" sz="1200">
              <a:solidFill>
                <a:schemeClr val="tx1"/>
              </a:solidFill>
            </a:endParaRPr>
          </a:p>
          <a:p>
            <a:pPr algn="ctr"/>
            <a:endParaRPr lang="es-CO" sz="14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649A53F8-AE73-4F8F-ABDB-F177E388C834}"/>
              </a:ext>
            </a:extLst>
          </p:cNvPr>
          <p:cNvCxnSpPr>
            <a:cxnSpLocks/>
          </p:cNvCxnSpPr>
          <p:nvPr/>
        </p:nvCxnSpPr>
        <p:spPr>
          <a:xfrm>
            <a:off x="9011513" y="3254827"/>
            <a:ext cx="838174" cy="0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57F94223-CFEA-4723-AA71-EC3756B12F1E}"/>
              </a:ext>
            </a:extLst>
          </p:cNvPr>
          <p:cNvSpPr/>
          <p:nvPr/>
        </p:nvSpPr>
        <p:spPr>
          <a:xfrm>
            <a:off x="7011728" y="4300610"/>
            <a:ext cx="1932532" cy="34219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Distributor</a:t>
            </a:r>
            <a:endParaRPr lang="es-CO" sz="1400" b="1" dirty="0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B3F793C-19F0-4F0A-9DE1-351DAB0FFA9E}"/>
              </a:ext>
            </a:extLst>
          </p:cNvPr>
          <p:cNvSpPr/>
          <p:nvPr/>
        </p:nvSpPr>
        <p:spPr>
          <a:xfrm>
            <a:off x="4207556" y="2846648"/>
            <a:ext cx="1330203" cy="127036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MX" sz="1200">
              <a:solidFill>
                <a:schemeClr val="tx1"/>
              </a:solidFill>
            </a:endParaRPr>
          </a:p>
          <a:p>
            <a:pPr algn="ctr"/>
            <a:endParaRPr lang="es-MX" sz="1200">
              <a:solidFill>
                <a:schemeClr val="tx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A793C80-F0D4-47F7-B16D-05C1525F18DB}"/>
              </a:ext>
            </a:extLst>
          </p:cNvPr>
          <p:cNvSpPr/>
          <p:nvPr/>
        </p:nvSpPr>
        <p:spPr>
          <a:xfrm>
            <a:off x="3906391" y="4300610"/>
            <a:ext cx="1932532" cy="34219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Producer</a:t>
            </a:r>
            <a:endParaRPr lang="es-CO" sz="1400" b="1" dirty="0">
              <a:solidFill>
                <a:schemeClr val="bg1"/>
              </a:solidFill>
            </a:endParaRP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724DDCCD-15BA-489D-AD68-C488A9FF3F30}"/>
              </a:ext>
            </a:extLst>
          </p:cNvPr>
          <p:cNvCxnSpPr>
            <a:cxnSpLocks/>
          </p:cNvCxnSpPr>
          <p:nvPr/>
        </p:nvCxnSpPr>
        <p:spPr>
          <a:xfrm>
            <a:off x="6077802" y="3254827"/>
            <a:ext cx="838174" cy="0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94C2AD74-9FD9-4EF4-9AEB-40FD8D160096}"/>
              </a:ext>
            </a:extLst>
          </p:cNvPr>
          <p:cNvSpPr/>
          <p:nvPr/>
        </p:nvSpPr>
        <p:spPr>
          <a:xfrm>
            <a:off x="1102219" y="2846648"/>
            <a:ext cx="1330203" cy="127036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MX" sz="1200">
              <a:solidFill>
                <a:schemeClr val="tx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C87FAE6-7EB9-467E-B284-E954DC1A6E66}"/>
              </a:ext>
            </a:extLst>
          </p:cNvPr>
          <p:cNvSpPr/>
          <p:nvPr/>
        </p:nvSpPr>
        <p:spPr>
          <a:xfrm>
            <a:off x="801054" y="4300610"/>
            <a:ext cx="1932532" cy="34219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b="1" dirty="0" err="1">
                <a:solidFill>
                  <a:schemeClr val="bg1"/>
                </a:solidFill>
              </a:rPr>
              <a:t>Originator</a:t>
            </a:r>
            <a:endParaRPr lang="es-CO" sz="1400" b="1" dirty="0">
              <a:solidFill>
                <a:schemeClr val="bg1"/>
              </a:solidFill>
            </a:endParaRP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4B9A0505-4FAE-48D9-9725-67E4CB760D91}"/>
              </a:ext>
            </a:extLst>
          </p:cNvPr>
          <p:cNvCxnSpPr>
            <a:cxnSpLocks/>
          </p:cNvCxnSpPr>
          <p:nvPr/>
        </p:nvCxnSpPr>
        <p:spPr>
          <a:xfrm>
            <a:off x="2807867" y="3145966"/>
            <a:ext cx="838174" cy="0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1632C23-DC8B-4C33-9D58-EDE169E5DB49}"/>
              </a:ext>
            </a:extLst>
          </p:cNvPr>
          <p:cNvCxnSpPr>
            <a:cxnSpLocks/>
          </p:cNvCxnSpPr>
          <p:nvPr/>
        </p:nvCxnSpPr>
        <p:spPr>
          <a:xfrm flipH="1">
            <a:off x="2807868" y="3837212"/>
            <a:ext cx="804612" cy="0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51213F30-4755-4E13-9CF1-CA9C0B77B260}"/>
              </a:ext>
            </a:extLst>
          </p:cNvPr>
          <p:cNvCxnSpPr>
            <a:cxnSpLocks/>
          </p:cNvCxnSpPr>
          <p:nvPr/>
        </p:nvCxnSpPr>
        <p:spPr>
          <a:xfrm flipH="1">
            <a:off x="6111364" y="3837212"/>
            <a:ext cx="804612" cy="0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BA9D9AA8-A1ED-48CF-8FEE-69C9DA935285}"/>
              </a:ext>
            </a:extLst>
          </p:cNvPr>
          <p:cNvCxnSpPr>
            <a:cxnSpLocks/>
          </p:cNvCxnSpPr>
          <p:nvPr/>
        </p:nvCxnSpPr>
        <p:spPr>
          <a:xfrm flipH="1">
            <a:off x="9045075" y="3837212"/>
            <a:ext cx="804612" cy="0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val 64">
            <a:extLst>
              <a:ext uri="{FF2B5EF4-FFF2-40B4-BE49-F238E27FC236}">
                <a16:creationId xmlns:a16="http://schemas.microsoft.com/office/drawing/2014/main" id="{ED85095A-807A-4892-A4E7-2A91E235E9A3}"/>
              </a:ext>
            </a:extLst>
          </p:cNvPr>
          <p:cNvSpPr/>
          <p:nvPr/>
        </p:nvSpPr>
        <p:spPr>
          <a:xfrm>
            <a:off x="10259750" y="2846648"/>
            <a:ext cx="1636768" cy="1270364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4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F500C71-E5B9-4C57-97F6-E79395FA113F}"/>
              </a:ext>
            </a:extLst>
          </p:cNvPr>
          <p:cNvSpPr/>
          <p:nvPr/>
        </p:nvSpPr>
        <p:spPr>
          <a:xfrm>
            <a:off x="10159654" y="4300610"/>
            <a:ext cx="1932532" cy="34219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MX" b="1" dirty="0" err="1">
                <a:solidFill>
                  <a:schemeClr val="bg1"/>
                </a:solidFill>
              </a:rPr>
              <a:t>Consumer</a:t>
            </a:r>
            <a:endParaRPr lang="es-CO" sz="1400" b="1" dirty="0">
              <a:solidFill>
                <a:schemeClr val="bg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8B600EF-9AEF-43ED-8614-D7816A820CF0}"/>
              </a:ext>
            </a:extLst>
          </p:cNvPr>
          <p:cNvSpPr/>
          <p:nvPr/>
        </p:nvSpPr>
        <p:spPr>
          <a:xfrm>
            <a:off x="4071207" y="4875191"/>
            <a:ext cx="1633526" cy="61700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4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8A667E3-025E-4E5E-A1CA-1B368541F629}"/>
              </a:ext>
            </a:extLst>
          </p:cNvPr>
          <p:cNvSpPr/>
          <p:nvPr/>
        </p:nvSpPr>
        <p:spPr>
          <a:xfrm>
            <a:off x="7142272" y="4928566"/>
            <a:ext cx="1633526" cy="61700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4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69FA525B-89D8-4AD7-9554-2994F8DD979E}"/>
              </a:ext>
            </a:extLst>
          </p:cNvPr>
          <p:cNvSpPr/>
          <p:nvPr/>
        </p:nvSpPr>
        <p:spPr>
          <a:xfrm>
            <a:off x="950557" y="4875191"/>
            <a:ext cx="1633526" cy="61700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4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Parallelogram 1">
            <a:extLst>
              <a:ext uri="{FF2B5EF4-FFF2-40B4-BE49-F238E27FC236}">
                <a16:creationId xmlns:a16="http://schemas.microsoft.com/office/drawing/2014/main" id="{2235ACAA-5110-450A-9274-D26A736325D2}"/>
              </a:ext>
            </a:extLst>
          </p:cNvPr>
          <p:cNvSpPr/>
          <p:nvPr/>
        </p:nvSpPr>
        <p:spPr>
          <a:xfrm>
            <a:off x="7273393" y="1834506"/>
            <a:ext cx="1633526" cy="446889"/>
          </a:xfrm>
          <a:prstGeom prst="parallelogram">
            <a:avLst/>
          </a:prstGeom>
          <a:solidFill>
            <a:srgbClr val="A2D1F5"/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200" b="1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997C4C1-0BC8-456A-B0C9-6444678C947D}"/>
              </a:ext>
            </a:extLst>
          </p:cNvPr>
          <p:cNvSpPr/>
          <p:nvPr/>
        </p:nvSpPr>
        <p:spPr>
          <a:xfrm>
            <a:off x="2609822" y="2329708"/>
            <a:ext cx="1389215" cy="446889"/>
          </a:xfrm>
          <a:prstGeom prst="rect">
            <a:avLst/>
          </a:prstGeom>
          <a:noFill/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10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F0682D5-4784-4CC9-B110-BE88DC9AC626}"/>
              </a:ext>
            </a:extLst>
          </p:cNvPr>
          <p:cNvSpPr/>
          <p:nvPr/>
        </p:nvSpPr>
        <p:spPr>
          <a:xfrm>
            <a:off x="5736631" y="2329708"/>
            <a:ext cx="1389215" cy="446889"/>
          </a:xfrm>
          <a:prstGeom prst="rect">
            <a:avLst/>
          </a:prstGeom>
          <a:noFill/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10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162FF11-855C-45CA-A872-167FBAECC077}"/>
              </a:ext>
            </a:extLst>
          </p:cNvPr>
          <p:cNvSpPr/>
          <p:nvPr/>
        </p:nvSpPr>
        <p:spPr>
          <a:xfrm>
            <a:off x="8906919" y="2329708"/>
            <a:ext cx="1389215" cy="446889"/>
          </a:xfrm>
          <a:prstGeom prst="rect">
            <a:avLst/>
          </a:prstGeom>
          <a:noFill/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100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1F1DE22-AC65-406B-B8ED-73EB0501FA02}"/>
              </a:ext>
            </a:extLst>
          </p:cNvPr>
          <p:cNvSpPr/>
          <p:nvPr/>
        </p:nvSpPr>
        <p:spPr>
          <a:xfrm>
            <a:off x="2609822" y="4117012"/>
            <a:ext cx="1389215" cy="446889"/>
          </a:xfrm>
          <a:prstGeom prst="rect">
            <a:avLst/>
          </a:prstGeom>
          <a:noFill/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100">
              <a:solidFill>
                <a:schemeClr val="bg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9EA25AC-427B-4FDC-AD30-00F8245EE443}"/>
              </a:ext>
            </a:extLst>
          </p:cNvPr>
          <p:cNvSpPr/>
          <p:nvPr/>
        </p:nvSpPr>
        <p:spPr>
          <a:xfrm>
            <a:off x="5736631" y="4115352"/>
            <a:ext cx="1389215" cy="446889"/>
          </a:xfrm>
          <a:prstGeom prst="rect">
            <a:avLst/>
          </a:prstGeom>
          <a:noFill/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10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6B91014-EE2D-4A28-A5C1-BD3104226CDF}"/>
              </a:ext>
            </a:extLst>
          </p:cNvPr>
          <p:cNvSpPr/>
          <p:nvPr/>
        </p:nvSpPr>
        <p:spPr>
          <a:xfrm>
            <a:off x="8906918" y="4115351"/>
            <a:ext cx="1389215" cy="446889"/>
          </a:xfrm>
          <a:prstGeom prst="rect">
            <a:avLst/>
          </a:prstGeom>
          <a:noFill/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O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1344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F3692B0D-82AC-41A6-A5BD-1A4B9AC9B985}"/>
              </a:ext>
            </a:extLst>
          </p:cNvPr>
          <p:cNvSpPr txBox="1"/>
          <p:nvPr/>
        </p:nvSpPr>
        <p:spPr>
          <a:xfrm>
            <a:off x="486611" y="1437319"/>
            <a:ext cx="11218778" cy="4282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of submission: </a:t>
            </a:r>
            <a:r>
              <a:rPr lang="en-GB" sz="2400" b="1" dirty="0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onday, April 22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of the group members must upload the file to the </a:t>
            </a:r>
            <a:r>
              <a:rPr lang="en-US" sz="2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Americas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ademy at the following path: </a:t>
            </a:r>
            <a:r>
              <a:rPr lang="en-US" sz="2000" b="1" u="sng" dirty="0" err="1">
                <a:solidFill>
                  <a:schemeClr val="accent4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Americas</a:t>
            </a:r>
            <a:r>
              <a:rPr lang="en-US" sz="2000" b="1" u="sng" dirty="0">
                <a:solidFill>
                  <a:schemeClr val="accent4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ademy - Topic 2 User Experience – Class4 tools Transformation - Individual Challenge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 can upload files in PDF, </a:t>
            </a:r>
            <a:r>
              <a:rPr lang="en-US" sz="2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point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Word, Excel, Images (PNG, JPG), among others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velop the exercise in an </a:t>
            </a:r>
            <a:r>
              <a:rPr lang="en-US" sz="2000" b="1" dirty="0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online tool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you can upload the document with the associated link. Make sure that these links are public, i.e. that they can be viewed by people outside your </a:t>
            </a:r>
            <a:r>
              <a:rPr lang="en-US" sz="2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sation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ensure that the file is readable as it can only be uploaded to the Academy </a:t>
            </a:r>
            <a:r>
              <a:rPr lang="en-US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ce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en-GB" sz="2000" b="1" u="sng" dirty="0">
              <a:solidFill>
                <a:schemeClr val="accent4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06328C-CAC4-4A9A-81D6-5AEBC15F166D}"/>
              </a:ext>
            </a:extLst>
          </p:cNvPr>
          <p:cNvSpPr txBox="1"/>
          <p:nvPr/>
        </p:nvSpPr>
        <p:spPr>
          <a:xfrm>
            <a:off x="553451" y="362193"/>
            <a:ext cx="10838046" cy="901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4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RUCTIONS</a:t>
            </a:r>
            <a:endParaRPr lang="en-GB" sz="4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1952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zyUykInx.urylw2A3z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9Mc56GFxoq7BWvWbl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6ab4214-ab26-4180-94f5-c882e3796056">
      <UserInfo>
        <DisplayName>Monica Betancourt</DisplayName>
        <AccountId>14</AccountId>
        <AccountType/>
      </UserInfo>
      <UserInfo>
        <DisplayName>Santiago Peña Pacheco</DisplayName>
        <AccountId>63</AccountId>
        <AccountType/>
      </UserInfo>
      <UserInfo>
        <DisplayName>Katerine Schifino</DisplayName>
        <AccountId>16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4F6F202B989444B8E513D90358DBD5" ma:contentTypeVersion="13" ma:contentTypeDescription="Create a new document." ma:contentTypeScope="" ma:versionID="a5a65e935e1dddc96805a3052a4bc168">
  <xsd:schema xmlns:xsd="http://www.w3.org/2001/XMLSchema" xmlns:xs="http://www.w3.org/2001/XMLSchema" xmlns:p="http://schemas.microsoft.com/office/2006/metadata/properties" xmlns:ns2="f7497011-41e9-4539-8eaa-a91e26322fc1" xmlns:ns3="36ab4214-ab26-4180-94f5-c882e3796056" targetNamespace="http://schemas.microsoft.com/office/2006/metadata/properties" ma:root="true" ma:fieldsID="c2bc6ae20514a2e6100e2a685aa51a78" ns2:_="" ns3:_="">
    <xsd:import namespace="f7497011-41e9-4539-8eaa-a91e26322fc1"/>
    <xsd:import namespace="36ab4214-ab26-4180-94f5-c882e379605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497011-41e9-4539-8eaa-a91e26322f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ab4214-ab26-4180-94f5-c882e3796056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2397B2F-AA3E-4435-ABBB-477580938829}">
  <ds:schemaRefs>
    <ds:schemaRef ds:uri="36ab4214-ab26-4180-94f5-c882e3796056"/>
    <ds:schemaRef ds:uri="f7497011-41e9-4539-8eaa-a91e26322fc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D5F96CA-E124-41F1-ADD3-769E009E5DA0}">
  <ds:schemaRefs>
    <ds:schemaRef ds:uri="36ab4214-ab26-4180-94f5-c882e3796056"/>
    <ds:schemaRef ds:uri="f7497011-41e9-4539-8eaa-a91e26322fc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FEBD0AE-4C18-4A23-B4DC-6E6B1C1ACE7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</TotalTime>
  <Words>430</Words>
  <Application>Microsoft Office PowerPoint</Application>
  <PresentationFormat>Widescreen</PresentationFormat>
  <Paragraphs>99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EYInterstate Light</vt:lpstr>
      <vt:lpstr>Georgia</vt:lpstr>
      <vt:lpstr>Wingdings</vt:lpstr>
      <vt:lpstr>EY dark background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an Solana</dc:creator>
  <cp:lastModifiedBy>Daniel Muñoz Segura</cp:lastModifiedBy>
  <cp:revision>1</cp:revision>
  <cp:lastPrinted>2022-03-22T16:40:57Z</cp:lastPrinted>
  <dcterms:created xsi:type="dcterms:W3CDTF">2020-11-16T13:23:13Z</dcterms:created>
  <dcterms:modified xsi:type="dcterms:W3CDTF">2022-04-04T19:35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84780</vt:lpwstr>
  </property>
  <property fmtid="{D5CDD505-2E9C-101B-9397-08002B2CF9AE}" pid="3" name="NXPowerLiteSettings">
    <vt:lpwstr>C700052003A000</vt:lpwstr>
  </property>
  <property fmtid="{D5CDD505-2E9C-101B-9397-08002B2CF9AE}" pid="4" name="NXPowerLiteVersion">
    <vt:lpwstr>D8.0.4</vt:lpwstr>
  </property>
  <property fmtid="{D5CDD505-2E9C-101B-9397-08002B2CF9AE}" pid="5" name="ContentTypeId">
    <vt:lpwstr>0x0101007C4F6F202B989444B8E513D90358DBD5</vt:lpwstr>
  </property>
</Properties>
</file>